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"/>
  <Default Extension="tiff" ContentType="image/tiff"/>
  <Default Extension="xlsm" ContentType="application/vnd.ms-excel.sheet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3" r:id="rId2"/>
    <p:sldMasterId id="2147483689" r:id="rId3"/>
    <p:sldMasterId id="2147483699" r:id="rId4"/>
  </p:sldMasterIdLst>
  <p:notesMasterIdLst>
    <p:notesMasterId r:id="rId33"/>
  </p:notesMasterIdLst>
  <p:sldIdLst>
    <p:sldId id="309" r:id="rId5"/>
    <p:sldId id="345" r:id="rId6"/>
    <p:sldId id="9210" r:id="rId7"/>
    <p:sldId id="9207" r:id="rId8"/>
    <p:sldId id="2147483392" r:id="rId9"/>
    <p:sldId id="2147473467" r:id="rId10"/>
    <p:sldId id="1585" r:id="rId11"/>
    <p:sldId id="2147483411" r:id="rId12"/>
    <p:sldId id="2147483398" r:id="rId13"/>
    <p:sldId id="2147483399" r:id="rId14"/>
    <p:sldId id="2147483393" r:id="rId15"/>
    <p:sldId id="2147483400" r:id="rId16"/>
    <p:sldId id="2147483407" r:id="rId17"/>
    <p:sldId id="2147483404" r:id="rId18"/>
    <p:sldId id="2147483405" r:id="rId19"/>
    <p:sldId id="2147483406" r:id="rId20"/>
    <p:sldId id="2147483394" r:id="rId21"/>
    <p:sldId id="2147483409" r:id="rId22"/>
    <p:sldId id="2147483412" r:id="rId23"/>
    <p:sldId id="2147483413" r:id="rId24"/>
    <p:sldId id="2147483410" r:id="rId25"/>
    <p:sldId id="2147483395" r:id="rId26"/>
    <p:sldId id="2147483417" r:id="rId27"/>
    <p:sldId id="2147483418" r:id="rId28"/>
    <p:sldId id="2147483396" r:id="rId29"/>
    <p:sldId id="2147483419" r:id="rId30"/>
    <p:sldId id="2147483420" r:id="rId31"/>
    <p:sldId id="310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EFFFE"/>
    <a:srgbClr val="F16504"/>
    <a:srgbClr val="22347A"/>
    <a:srgbClr val="FFD000"/>
    <a:srgbClr val="20B9AB"/>
    <a:srgbClr val="40B977"/>
    <a:srgbClr val="A5E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BEDFA0-38AD-4540-9804-FCF026170489}" v="460" dt="2025-12-02T21:45:07.111"/>
    <p1510:client id="{744B5C8C-BE0B-5B4F-9106-B6DBB51D7EC5}" v="36" dt="2025-12-03T16:30:04.0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5"/>
    <p:restoredTop sz="95915"/>
  </p:normalViewPr>
  <p:slideViewPr>
    <p:cSldViewPr snapToGrid="0" snapToObjects="1">
      <p:cViewPr varScale="1">
        <p:scale>
          <a:sx n="105" d="100"/>
          <a:sy n="105" d="100"/>
        </p:scale>
        <p:origin x="1008" y="192"/>
      </p:cViewPr>
      <p:guideLst/>
    </p:cSldViewPr>
  </p:slideViewPr>
  <p:outlineViewPr>
    <p:cViewPr>
      <p:scale>
        <a:sx n="33" d="100"/>
        <a:sy n="33" d="100"/>
      </p:scale>
      <p:origin x="0" y="-109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115" d="100"/>
          <a:sy n="115" d="100"/>
        </p:scale>
        <p:origin x="5088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.xlsm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758064516129031E-2"/>
          <c:y val="5.1829268292682924E-2"/>
          <c:w val="0.8588709677419355"/>
          <c:h val="0.8567073170731707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7806">
              <a:noFill/>
            </a:ln>
          </c:spPr>
          <c:marker>
            <c:symbol val="diamond"/>
            <c:size val="4"/>
            <c:spPr>
              <a:noFill/>
              <a:ln>
                <a:noFill/>
                <a:prstDash val="solid"/>
              </a:ln>
            </c:spPr>
          </c:marker>
          <c:xVal>
            <c:numRef>
              <c:f>Sheet1!$B$1:$C$1</c:f>
              <c:numCache>
                <c:formatCode>#,##0</c:formatCode>
                <c:ptCount val="2"/>
                <c:pt idx="0">
                  <c:v>12547</c:v>
                </c:pt>
                <c:pt idx="1">
                  <c:v>42200</c:v>
                </c:pt>
              </c:numCache>
            </c:numRef>
          </c:xVal>
          <c:yVal>
            <c:numRef>
              <c:f>Sheet1!$B$2:$C$2</c:f>
              <c:numCache>
                <c:formatCode>#,##0</c:formatCode>
                <c:ptCount val="2"/>
                <c:pt idx="0">
                  <c:v>8812</c:v>
                </c:pt>
                <c:pt idx="1">
                  <c:v>381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BA3-8D47-815D-CE1F874A3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82415632"/>
        <c:axId val="1"/>
      </c:scatterChart>
      <c:valAx>
        <c:axId val="2082415632"/>
        <c:scaling>
          <c:orientation val="minMax"/>
        </c:scaling>
        <c:delete val="0"/>
        <c:axPos val="b"/>
        <c:numFmt formatCode="#,##0" sourceLinked="1"/>
        <c:majorTickMark val="none"/>
        <c:minorTickMark val="none"/>
        <c:tickLblPos val="nextTo"/>
        <c:spPr>
          <a:ln w="1187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35" b="0" i="0" u="none" strike="noStrike" baseline="0">
                <a:solidFill>
                  <a:srgbClr val="FFFFFF"/>
                </a:solidFill>
                <a:latin typeface="Tahoma"/>
                <a:ea typeface="Tahoma"/>
                <a:cs typeface="Tahoma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ln w="1187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35" b="0" i="0" u="none" strike="noStrike" baseline="0">
                <a:solidFill>
                  <a:srgbClr val="FFFFFF"/>
                </a:solidFill>
                <a:latin typeface="Tahoma"/>
                <a:ea typeface="Tahoma"/>
                <a:cs typeface="Tahoma"/>
              </a:defRPr>
            </a:pPr>
            <a:endParaRPr lang="en-US"/>
          </a:p>
        </c:txPr>
        <c:crossAx val="2082415632"/>
        <c:crosses val="autoZero"/>
        <c:crossBetween val="midCat"/>
      </c:valAx>
      <c:spPr>
        <a:noFill/>
        <a:ln w="2374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82" b="1" i="0" u="none" strike="noStrike" baseline="0">
          <a:solidFill>
            <a:srgbClr val="000000"/>
          </a:solidFill>
          <a:latin typeface="Tahoma"/>
          <a:ea typeface="Tahoma"/>
          <a:cs typeface="Tahom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explosion val="2"/>
          <c:dPt>
            <c:idx val="0"/>
            <c:bubble3D val="0"/>
            <c:spPr>
              <a:solidFill>
                <a:srgbClr val="F16504"/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B54F-544B-B0F4-F4D8E3B1DFE2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54F-544B-B0F4-F4D8E3B1DFE2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54F-544B-B0F4-F4D8E3B1DFE2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54F-544B-B0F4-F4D8E3B1DFE2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54F-544B-B0F4-F4D8E3B1DFE2}"/>
              </c:ext>
            </c:extLst>
          </c:dPt>
          <c:dPt>
            <c:idx val="5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ysClr val="windowText" lastClr="0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54F-544B-B0F4-F4D8E3B1DFE2}"/>
              </c:ext>
            </c:extLst>
          </c:dPt>
          <c:dLbls>
            <c:dLbl>
              <c:idx val="0"/>
              <c:layout>
                <c:manualLayout>
                  <c:x val="-0.155372484689414"/>
                  <c:y val="-0.10496573344998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54F-544B-B0F4-F4D8E3B1DFE2}"/>
                </c:ext>
              </c:extLst>
            </c:dLbl>
            <c:dLbl>
              <c:idx val="1"/>
              <c:layout>
                <c:manualLayout>
                  <c:x val="4.3883202099737499E-2"/>
                  <c:y val="6.918744531933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4F-544B-B0F4-F4D8E3B1DFE2}"/>
                </c:ext>
              </c:extLst>
            </c:dLbl>
            <c:dLbl>
              <c:idx val="2"/>
              <c:layout>
                <c:manualLayout>
                  <c:x val="-8.0520559930008697E-3"/>
                  <c:y val="5.837124526100900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4F-544B-B0F4-F4D8E3B1DFE2}"/>
                </c:ext>
              </c:extLst>
            </c:dLbl>
            <c:dLbl>
              <c:idx val="3"/>
              <c:layout>
                <c:manualLayout>
                  <c:x val="-3.2582458442694702E-2"/>
                  <c:y val="3.84306649168853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4F-544B-B0F4-F4D8E3B1DFE2}"/>
                </c:ext>
              </c:extLst>
            </c:dLbl>
            <c:dLbl>
              <c:idx val="4"/>
              <c:layout>
                <c:manualLayout>
                  <c:x val="-2.2021910097596301E-2"/>
                  <c:y val="-3.35446340965153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54F-544B-B0F4-F4D8E3B1DFE2}"/>
                </c:ext>
              </c:extLst>
            </c:dLbl>
            <c:dLbl>
              <c:idx val="5"/>
              <c:layout>
                <c:manualLayout>
                  <c:x val="0.115166447944007"/>
                  <c:y val="0.10848352289297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4F-544B-B0F4-F4D8E3B1DF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Montserrat" pitchFamily="2" charset="77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B$3:$B$8</c:f>
              <c:strCache>
                <c:ptCount val="6"/>
                <c:pt idx="0">
                  <c:v>Harley Davison</c:v>
                </c:pt>
                <c:pt idx="1">
                  <c:v>Dorel</c:v>
                </c:pt>
                <c:pt idx="2">
                  <c:v>Polaris</c:v>
                </c:pt>
                <c:pt idx="3">
                  <c:v>Yamaha</c:v>
                </c:pt>
                <c:pt idx="4">
                  <c:v>Huffy</c:v>
                </c:pt>
                <c:pt idx="5">
                  <c:v>All others</c:v>
                </c:pt>
              </c:strCache>
            </c:strRef>
          </c:cat>
          <c:val>
            <c:numRef>
              <c:f>Sheet1!$C$3:$C$8</c:f>
              <c:numCache>
                <c:formatCode>0%</c:formatCode>
                <c:ptCount val="6"/>
                <c:pt idx="0">
                  <c:v>0.66</c:v>
                </c:pt>
                <c:pt idx="1">
                  <c:v>0.02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54F-544B-B0F4-F4D8E3B1DF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t" anchorCtr="0"/>
          <a:lstStyle/>
          <a:p>
            <a:pPr>
              <a:defRPr sz="1000" b="1" i="0" u="none" strike="noStrike" kern="1200" spc="0" baseline="0">
                <a:solidFill>
                  <a:srgbClr val="000000"/>
                </a:solidFill>
                <a:latin typeface="Montserrat" pitchFamily="2" charset="77"/>
                <a:ea typeface="+mn-ea"/>
                <a:cs typeface="+mn-cs"/>
              </a:defRPr>
            </a:pPr>
            <a:r>
              <a:rPr lang="en-US" sz="1000" b="1" dirty="0">
                <a:effectLst/>
              </a:rPr>
              <a:t>Components of S&amp;P 500</a:t>
            </a:r>
          </a:p>
        </c:rich>
      </c:tx>
      <c:layout>
        <c:manualLayout>
          <c:xMode val="edge"/>
          <c:yMode val="edge"/>
          <c:x val="0.39427098673955296"/>
          <c:y val="4.37782211234312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t" anchorCtr="0"/>
        <a:lstStyle/>
        <a:p>
          <a:pPr>
            <a:defRPr sz="1000" b="1" i="0" u="none" strike="noStrike" kern="1200" spc="0" baseline="0">
              <a:solidFill>
                <a:srgbClr val="000000"/>
              </a:solidFill>
              <a:latin typeface="Montserrat" pitchFamily="2" charset="77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771918208257697E-2"/>
          <c:y val="0.18449820718783611"/>
          <c:w val="0.87069453059325952"/>
          <c:h val="0.572716045349103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TANGIBLE ASSETS</c:v>
                </c:pt>
              </c:strCache>
            </c:strRef>
          </c:tx>
          <c:spPr>
            <a:gradFill flip="none" rotWithShape="1">
              <a:gsLst>
                <a:gs pos="6000">
                  <a:srgbClr val="20B9AB"/>
                </a:gs>
                <a:gs pos="46000">
                  <a:srgbClr val="0090BF"/>
                </a:gs>
                <a:gs pos="100000">
                  <a:srgbClr val="2F3287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Montserrat SemiBold" pitchFamily="2" charset="77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6"/>
                <c:pt idx="0">
                  <c:v>1975</c:v>
                </c:pt>
                <c:pt idx="1">
                  <c:v>1985</c:v>
                </c:pt>
                <c:pt idx="2">
                  <c:v>1995</c:v>
                </c:pt>
                <c:pt idx="3">
                  <c:v>2005</c:v>
                </c:pt>
                <c:pt idx="4">
                  <c:v>2015</c:v>
                </c:pt>
                <c:pt idx="5">
                  <c:v>2020*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17</c:v>
                </c:pt>
                <c:pt idx="1">
                  <c:v>0.32</c:v>
                </c:pt>
                <c:pt idx="2">
                  <c:v>0.68</c:v>
                </c:pt>
                <c:pt idx="3">
                  <c:v>0.8</c:v>
                </c:pt>
                <c:pt idx="4">
                  <c:v>0.84</c:v>
                </c:pt>
                <c:pt idx="5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8-6548-9643-0CD4E5DA44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NGIBLE ASSETS</c:v>
                </c:pt>
              </c:strCache>
            </c:strRef>
          </c:tx>
          <c:spPr>
            <a:solidFill>
              <a:srgbClr val="20B9AB">
                <a:alpha val="5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0000"/>
                    </a:solidFill>
                    <a:latin typeface="Montserrat SemiBold" pitchFamily="2" charset="77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6"/>
                <c:pt idx="0">
                  <c:v>1975</c:v>
                </c:pt>
                <c:pt idx="1">
                  <c:v>1985</c:v>
                </c:pt>
                <c:pt idx="2">
                  <c:v>1995</c:v>
                </c:pt>
                <c:pt idx="3">
                  <c:v>2005</c:v>
                </c:pt>
                <c:pt idx="4">
                  <c:v>2015</c:v>
                </c:pt>
                <c:pt idx="5">
                  <c:v>2020*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83</c:v>
                </c:pt>
                <c:pt idx="1">
                  <c:v>0.68</c:v>
                </c:pt>
                <c:pt idx="2">
                  <c:v>0.32</c:v>
                </c:pt>
                <c:pt idx="3">
                  <c:v>0.2</c:v>
                </c:pt>
                <c:pt idx="4">
                  <c:v>0.16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E8-6548-9643-0CD4E5DA44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9"/>
        <c:overlap val="100"/>
        <c:axId val="285681120"/>
        <c:axId val="285678376"/>
      </c:barChart>
      <c:catAx>
        <c:axId val="28568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161616"/>
                </a:solidFill>
                <a:latin typeface="Montserrat" pitchFamily="2" charset="77"/>
                <a:ea typeface="+mn-ea"/>
                <a:cs typeface="+mn-cs"/>
              </a:defRPr>
            </a:pPr>
            <a:endParaRPr lang="en-US"/>
          </a:p>
        </c:txPr>
        <c:crossAx val="285678376"/>
        <c:crosses val="autoZero"/>
        <c:auto val="1"/>
        <c:lblAlgn val="ctr"/>
        <c:lblOffset val="200"/>
        <c:noMultiLvlLbl val="0"/>
      </c:catAx>
      <c:valAx>
        <c:axId val="28567837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0000"/>
                </a:solidFill>
                <a:latin typeface="Montserrat" pitchFamily="2" charset="77"/>
                <a:ea typeface="+mn-ea"/>
                <a:cs typeface="+mn-cs"/>
              </a:defRPr>
            </a:pPr>
            <a:endParaRPr lang="en-US"/>
          </a:p>
        </c:txPr>
        <c:crossAx val="285681120"/>
        <c:crossesAt val="1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290752922592618E-4"/>
          <c:y val="0.84847309439017216"/>
          <c:w val="0.792299010933463"/>
          <c:h val="5.19418433691639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161616"/>
              </a:solidFill>
              <a:latin typeface="Montserrat" pitchFamily="2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7D-854B-8C5A-27254BAE180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7D-854B-8C5A-27254BAE180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Performance</c:v>
                </c:pt>
                <c:pt idx="1">
                  <c:v>Bran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6999999999999995</c:v>
                </c:pt>
                <c:pt idx="1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37-8840-8354-D6BA35B36E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09AC5A-E7FC-4148-8EEC-94DA1DEAFB10}" type="datetimeFigureOut">
              <a:rPr lang="en-US" smtClean="0"/>
              <a:t>2/14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0F4F4-3420-484C-9579-4A5D23987C2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198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4BF8F-4AA7-2D5C-09E2-2DA6B02E4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2B9EE3-4896-2D3A-64DE-4B80DF0FE6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3B3DF3-5603-EEC7-FAA3-3D8C7EA7C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7D8894-13D2-7491-9C56-CB40C8F3B6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4C245D-50AB-4AC6-9911-5E609F52EC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130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Montserrat" pitchFamily="2" charset="77"/>
              </a:rPr>
              <a:t>Performance marketing has tremendous appeal for managers focused on reporting this quarter’s results</a:t>
            </a:r>
          </a:p>
          <a:p>
            <a:pPr marL="628650" indent="-1651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Montserrat" pitchFamily="2" charset="77"/>
              </a:rPr>
              <a:t>It’s trackable and ROI-driv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  <a:effectLst/>
              <a:latin typeface="Montserrat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Montserrat" pitchFamily="2" charset="77"/>
              </a:rPr>
              <a:t>Brand marketing has a much bigger impact on value creation, short-term, medium-term and long-term</a:t>
            </a:r>
          </a:p>
          <a:p>
            <a:pPr marL="628650" indent="-1651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Montserrat" pitchFamily="2" charset="77"/>
              </a:rPr>
              <a:t>But its effects are much less visible, much less easy to measure and demonstrate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Montserrat" pitchFamily="2" charset="77"/>
              </a:rPr>
              <a:t>Spend has shifted away from the traditional rule: 60% brand building, 40% performance marke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Montserrat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Montserrat" pitchFamily="2" charset="77"/>
              </a:rPr>
              <a:t>Marketing leaders prioritize performance marketing 2.5% more often than bra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0F4F4-3420-484C-9579-4A5D23987C2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857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 is going to democratize all the best practices, so now everybody can come up with the best car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y pretty much look all alike. Well, why is that? It's because the law of physics applies to every car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if you're designing a car for best gas mileage, there's only one way to design it. The law of physics is not different for Ford than it is for Toyota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there's the paradox. They're all better quality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the difference between them has shrunk. And that's occurred in every category. Products in every category these days are better than they were in the past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once a particular brand finds out a better way to do something, competitors go, I'm going to do it too.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now everybody's doing the same thing. So as quality has gone up, the difference between brands has shrun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0F4F4-3420-484C-9579-4A5D23987C2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426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Network effects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tforms like Google, Amazon, Meta, Apple, and Microsoft become more valuable as more people use them.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reates a self-reinforcing cycle that makes it extremely hard for new entrants to gain scale.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Data advantages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rge platforms accumulate massive user-behavior datasets, enabling better targeting, personalization, and product refinement—giving them a structural edge that startups cannot match initially.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Control of key digital infrastructure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e and Google effectively control mobile ecosystems.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zon controls a huge portion of e-commerce logistics and cloud hosting.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soft dominates enterprise software and productivity stacks.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reates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tekeeper powe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—they can set fees, determine access, and prioritize their own products.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Acquisitions of emerging competitors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years, big tech firms acquired potentially competitive startups (Instagram, WhatsApp, YouTube, GitHub, LinkedIn, etc.).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limits the number of companies that can challenge incumbents at scale.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 Bundling strategies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amples: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soft bundling Teams with Office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e bundling services into Apple One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zon bundling Prime shipping, video, music, cloud storage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ndles make it extremely hard for point-solution competitors to surviv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0F4F4-3420-484C-9579-4A5D23987C2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364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tflix: </a:t>
            </a:r>
            <a:r>
              <a:rPr lang="en-US" sz="1200" dirty="0">
                <a:latin typeface="Montserrat" pitchFamily="2" charset="77"/>
              </a:rPr>
              <a:t>Deploying AI to understand individual consumer preferences and serve up new content to them. </a:t>
            </a:r>
          </a:p>
          <a:p>
            <a:endParaRPr lang="en-US" sz="1200" dirty="0">
              <a:latin typeface="Montserrat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Montserrat" pitchFamily="2" charset="77"/>
              </a:rPr>
              <a:t>Tailoring the offering they serve up to different customers and communicating them in a way that hits their particular buttons and pain points: (e.g., P&amp;G is requiring every one of their employees to be qualified on AI, and anyone not will be let go)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0F4F4-3420-484C-9579-4A5D23987C2D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890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0188" indent="-230188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Brand A is a leader, but Brand B has better quality of service and cool features</a:t>
            </a:r>
          </a:p>
          <a:p>
            <a:pPr marL="230188" indent="-230188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Montserrat" pitchFamily="2" charset="77"/>
              </a:rPr>
              <a:t>If Brand A wants to improve customer attraction and retention, and grow its revenues, it needs to get its brand better known for quality of service and cool featur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0F4F4-3420-484C-9579-4A5D23987C2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785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5" Type="http://schemas.openxmlformats.org/officeDocument/2006/relationships/image" Target="../media/image20.svg"/><Relationship Id="rId4" Type="http://schemas.openxmlformats.org/officeDocument/2006/relationships/image" Target="../media/image1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5" Type="http://schemas.openxmlformats.org/officeDocument/2006/relationships/image" Target="../media/image21.png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23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448EFDB-0C52-774E-8648-4E04253E7F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A80439D-01B7-5640-9DBE-AAF8493B1F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948" y="3213876"/>
            <a:ext cx="7822020" cy="133468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31DD80-8B51-6846-AB6E-1AAD48635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948" y="4548556"/>
            <a:ext cx="7822020" cy="103028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947DA-B582-2E46-8D2F-25FE2C40D4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6948" y="5611681"/>
            <a:ext cx="1588658" cy="543110"/>
          </a:xfrm>
        </p:spPr>
        <p:txBody>
          <a:bodyPr/>
          <a:lstStyle>
            <a:lvl1pPr>
              <a:defRPr sz="1800">
                <a:solidFill>
                  <a:srgbClr val="22347A"/>
                </a:solidFill>
              </a:defRPr>
            </a:lvl1pPr>
          </a:lstStyle>
          <a:p>
            <a:fld id="{B3FCE03A-150E-7149-9995-AEE6B6836D5C}" type="datetime1">
              <a:rPr lang="en-US" smtClean="0"/>
              <a:t>2/14/26</a:t>
            </a:fld>
            <a:endParaRPr lang="en-US" sz="18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EA30A5-0768-AA44-B463-EDBCBF1BF1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65884" y="5611681"/>
            <a:ext cx="2750161" cy="63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0692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7A5AB9CC-80EA-5D4C-A5BF-E85A4E22090B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AA78FB-3471-5C46-B98F-EBBBA5A90D4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23353" y="1472064"/>
            <a:ext cx="3038740" cy="2023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8CE699E-5AED-E144-A9B8-D0FF1B5EF9D8}"/>
              </a:ext>
            </a:extLst>
          </p:cNvPr>
          <p:cNvSpPr>
            <a:spLocks noGrp="1"/>
          </p:cNvSpPr>
          <p:nvPr userDrawn="1">
            <p:ph idx="10" hasCustomPrompt="1"/>
          </p:nvPr>
        </p:nvSpPr>
        <p:spPr>
          <a:xfrm>
            <a:off x="3680515" y="1472064"/>
            <a:ext cx="8186199" cy="4268336"/>
          </a:xfrm>
          <a:prstGeom prst="rect">
            <a:avLst/>
          </a:prstGeom>
        </p:spPr>
        <p:txBody>
          <a:bodyPr vert="horz" lIns="0" tIns="0" rIns="0" bIns="0" numCol="2" spcCol="360000" rtlCol="0">
            <a:noAutofit/>
          </a:bodyPr>
          <a:lstStyle>
            <a:lvl1pPr>
              <a:lnSpc>
                <a:spcPts val="1200"/>
              </a:lnSpc>
              <a:spcAft>
                <a:spcPts val="1200"/>
              </a:spcAft>
              <a:defRPr lang="en-US" sz="1200" b="0" i="0" kern="1200" spc="-30" baseline="0" dirty="0">
                <a:solidFill>
                  <a:srgbClr val="161616"/>
                </a:solidFill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ts val="1100"/>
              </a:lnSpc>
              <a:spcBef>
                <a:spcPts val="0"/>
              </a:spcBef>
              <a:spcAft>
                <a:spcPts val="1100"/>
              </a:spcAft>
              <a:buFont typeface="Arial" panose="020B0604020202020204" pitchFamily="34" charset="0"/>
              <a:buNone/>
            </a:pPr>
            <a:r>
              <a:rPr lang="en-US" dirty="0"/>
              <a:t>Body Copy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90C091F2-3F29-1E40-9591-C5BA4DEBE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3624A2-CC71-8E40-9D34-B5F77F320A16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F3DC247E-C839-5649-AA34-BDD1108616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25" name="Slide Number Placeholder 8">
            <a:extLst>
              <a:ext uri="{FF2B5EF4-FFF2-40B4-BE49-F238E27FC236}">
                <a16:creationId xmlns:a16="http://schemas.microsoft.com/office/drawing/2014/main" id="{0FC0CF4A-77CF-2748-A84A-9A1FFD2BC9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F0E6230-7EAC-9549-8CB6-08F4AEAD2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0D0E6ED-6C64-B64D-BA65-D52FA9FE34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487227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E29B657-5E50-0743-B355-905D3FE7546C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0AE403-6816-E842-A150-4D2E8416EFF7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Placeholder 5">
            <a:extLst>
              <a:ext uri="{FF2B5EF4-FFF2-40B4-BE49-F238E27FC236}">
                <a16:creationId xmlns:a16="http://schemas.microsoft.com/office/drawing/2014/main" id="{766258BC-62D7-084B-B7C4-4EB43D0A64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A5919825-E894-544A-A191-4B545DAB431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862C4881-CE3A-5346-BCB8-F03A10D0718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AA78FB-3471-5C46-B98F-EBBBA5A90D4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23353" y="1472064"/>
            <a:ext cx="3038740" cy="158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3AE741-326D-154C-BFBB-C30759CF22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0FA9AA-C511-2C41-8CD8-D7E52A9E2C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00846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A67EC0D-8AC9-0745-A6B7-5B5B0D9C2F6C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0AE403-6816-E842-A150-4D2E8416EFF7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Placeholder 5">
            <a:extLst>
              <a:ext uri="{FF2B5EF4-FFF2-40B4-BE49-F238E27FC236}">
                <a16:creationId xmlns:a16="http://schemas.microsoft.com/office/drawing/2014/main" id="{766258BC-62D7-084B-B7C4-4EB43D0A64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A5919825-E894-544A-A191-4B545DAB431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862C4881-CE3A-5346-BCB8-F03A10D0718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AA78FB-3471-5C46-B98F-EBBBA5A90D4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23352" y="1472064"/>
            <a:ext cx="11543361" cy="4546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 i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0FA9AA-C511-2C41-8CD8-D7E52A9E2C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577EC3F-A84A-2B40-9ED8-45303C9F9B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131868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38C4EED-87AE-DE48-BB80-A61E3339193C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5AB9CC-80EA-5D4C-A5BF-E85A4E22090B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AA78FB-3471-5C46-B98F-EBBBA5A90D4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23353" y="1472064"/>
            <a:ext cx="3038740" cy="158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8CE699E-5AED-E144-A9B8-D0FF1B5EF9D8}"/>
              </a:ext>
            </a:extLst>
          </p:cNvPr>
          <p:cNvSpPr>
            <a:spLocks noGrp="1"/>
          </p:cNvSpPr>
          <p:nvPr userDrawn="1">
            <p:ph idx="10" hasCustomPrompt="1"/>
          </p:nvPr>
        </p:nvSpPr>
        <p:spPr>
          <a:xfrm>
            <a:off x="3680515" y="1472064"/>
            <a:ext cx="8186199" cy="4546332"/>
          </a:xfrm>
          <a:prstGeom prst="rect">
            <a:avLst/>
          </a:prstGeom>
        </p:spPr>
        <p:txBody>
          <a:bodyPr vert="horz" lIns="0" tIns="0" rIns="0" bIns="0" numCol="2" spcCol="360000" rtlCol="0">
            <a:noAutofit/>
          </a:bodyPr>
          <a:lstStyle>
            <a:lvl1pPr>
              <a:lnSpc>
                <a:spcPts val="1300"/>
              </a:lnSpc>
              <a:spcAft>
                <a:spcPts val="1300"/>
              </a:spcAft>
              <a:defRPr lang="en-US" sz="1200" b="0" i="0" kern="1200" spc="-30" baseline="0" dirty="0">
                <a:solidFill>
                  <a:srgbClr val="161616"/>
                </a:solidFill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ts val="1100"/>
              </a:lnSpc>
              <a:spcBef>
                <a:spcPts val="0"/>
              </a:spcBef>
              <a:spcAft>
                <a:spcPts val="1100"/>
              </a:spcAft>
              <a:buFont typeface="Arial" panose="020B0604020202020204" pitchFamily="34" charset="0"/>
              <a:buNone/>
            </a:pPr>
            <a:r>
              <a:rPr lang="en-US" dirty="0"/>
              <a:t>Body Copy</a:t>
            </a:r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74D61489-C33A-F742-9439-77E4389AA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2ECB1827-B1A2-EC41-ABEB-4CC743462D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E276CA-0F79-4941-A6EC-3F9B3A66B9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0A507BF-6890-584F-A350-1232DB0FA2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sp>
        <p:nvSpPr>
          <p:cNvPr id="22" name="Title Placeholder 5">
            <a:extLst>
              <a:ext uri="{FF2B5EF4-FFF2-40B4-BE49-F238E27FC236}">
                <a16:creationId xmlns:a16="http://schemas.microsoft.com/office/drawing/2014/main" id="{AC27279F-8B69-5C46-8754-C0411AE16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312102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5767C122-6B1C-CC4E-91AC-11F217F3B962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2D7A8FE-BB8E-1845-8F18-771D0C7525CE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A3BBAD-F0AE-4749-9A16-2B11EDE8F3A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98358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034872EB-2B92-F44E-AA6A-5FCB013034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5861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49D9E6A-318B-6946-B0B9-F91DECD768D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73364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C190E760-4A59-DB4F-9B77-F1A4D79011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60867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18AE82E-8AAC-9D49-BD35-A67C29DBE6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8358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B419222E-CFA7-354C-99D8-F89BCF917C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8358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5008ADCB-3F2E-E74B-A769-A4F8599767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4718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919BCC3-C1E5-2C42-B70B-DBCBD45335C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4718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44FCB0D-9B36-6849-99C9-39A16F8063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74253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63307A4-4590-D24B-9A3C-88182CA9BC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4253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8514F83C-74DA-1A4A-B12E-CD210EAB9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60867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99661B1-C5C3-AC44-B780-0E08C30875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60867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59A21629-8A6C-E54D-942B-9A585F9FFB3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23352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DBD9EEC0-3C11-7A40-B534-20A901FFE6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3352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D19F0DFC-1D06-5D48-BA20-CAE0A50453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3352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EE1D80A8-4D40-5C49-8B55-67759C138AF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310855" y="1465340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9D73BA38-CB14-0C4E-A639-7D9A378ECB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10855" y="2762183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143EFEA3-4702-1A4F-AC0A-C115171E02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10855" y="2886415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3149F1D8-CB7E-C34B-8BB1-2CB7C42A4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51" name="Slide Number Placeholder 8">
            <a:extLst>
              <a:ext uri="{FF2B5EF4-FFF2-40B4-BE49-F238E27FC236}">
                <a16:creationId xmlns:a16="http://schemas.microsoft.com/office/drawing/2014/main" id="{480C059B-99F6-4446-A0EA-00DAE03A2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D9462E14-15F9-F744-BBD7-BA0BCDE5B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sp>
        <p:nvSpPr>
          <p:cNvPr id="54" name="Title Placeholder 5">
            <a:extLst>
              <a:ext uri="{FF2B5EF4-FFF2-40B4-BE49-F238E27FC236}">
                <a16:creationId xmlns:a16="http://schemas.microsoft.com/office/drawing/2014/main" id="{CCE1C6E8-EAC7-6C47-9B08-42AD0ADC2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5478AC1-A91D-0D4D-AC74-3D8C606851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656409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BE6824F-2F1F-C749-A821-93965E5119EF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5AB9CC-80EA-5D4C-A5BF-E85A4E22090B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1E5FC131-903D-444B-9984-3A725A993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C8B594CD-48FA-A74A-BA8C-19897245C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372CAC3D-B00A-A947-A287-9A3C2996D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9D5D9AC-A26D-5243-B9B4-9FD1633548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463B7-C822-1B4A-8AD8-870B6409F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049648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8CE2619-A07B-8045-86CC-22E1D9C2547D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0C2242E-A5B0-A54F-BCB8-90F181E54B05}"/>
              </a:ext>
            </a:extLst>
          </p:cNvPr>
          <p:cNvSpPr/>
          <p:nvPr userDrawn="1"/>
        </p:nvSpPr>
        <p:spPr>
          <a:xfrm>
            <a:off x="0" y="839605"/>
            <a:ext cx="12192000" cy="5549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06AC4F3-540F-0844-8CC5-36EAEDB12AA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23353" y="1286226"/>
            <a:ext cx="3357163" cy="4732169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E831757A-F34F-484C-8282-0F9DA1387B1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411434" y="1286226"/>
            <a:ext cx="3357163" cy="4732169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4B63D10-9E38-9F4A-8B1E-9EF1F5C2FAD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499514" y="1286226"/>
            <a:ext cx="3357163" cy="4732169"/>
          </a:xfrm>
          <a:prstGeom prst="rect">
            <a:avLst/>
          </a:prstGeom>
        </p:spPr>
        <p:txBody>
          <a:bodyPr vert="horz" lIns="0" tIns="0" rIns="0" bIns="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23" name="Title Placeholder 5">
            <a:extLst>
              <a:ext uri="{FF2B5EF4-FFF2-40B4-BE49-F238E27FC236}">
                <a16:creationId xmlns:a16="http://schemas.microsoft.com/office/drawing/2014/main" id="{BCF31CAF-A4CC-7A4D-ADD4-7D16CCE3C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BBAE36DE-0192-2640-945B-A1B2D3CE80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25" name="Slide Number Placeholder 8">
            <a:extLst>
              <a:ext uri="{FF2B5EF4-FFF2-40B4-BE49-F238E27FC236}">
                <a16:creationId xmlns:a16="http://schemas.microsoft.com/office/drawing/2014/main" id="{D57D1BA0-F10A-3748-8F72-53129AFC57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29E19A-B9B8-174E-858B-CDFD9258BA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37047C-8A81-5B4E-8ED0-565F9C5670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29266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AE69F80-6009-9146-8B81-09FC05671C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000" b="0" i="0" baseline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2800" b="1" i="0">
                <a:latin typeface="Montserrat SemiBold" pitchFamily="2" charset="77"/>
              </a:defRPr>
            </a:lvl2pPr>
            <a:lvl3pPr>
              <a:defRPr sz="2800" b="1" i="0">
                <a:latin typeface="Montserrat SemiBold" pitchFamily="2" charset="77"/>
              </a:defRPr>
            </a:lvl3pPr>
            <a:lvl4pPr>
              <a:defRPr sz="2800" b="1" i="0">
                <a:latin typeface="Montserrat SemiBold" pitchFamily="2" charset="77"/>
              </a:defRPr>
            </a:lvl4pPr>
            <a:lvl5pPr>
              <a:defRPr sz="2800" b="1" i="0">
                <a:latin typeface="Montserrat SemiBold" pitchFamily="2" charset="77"/>
              </a:defRPr>
            </a:lvl5pPr>
          </a:lstStyle>
          <a:p>
            <a:pPr lvl="0"/>
            <a:r>
              <a:rPr lang="en-GB" dirty="0"/>
              <a:t>SE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64F148-5992-FD49-875E-96DFA47BA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360000" tIns="360000" rIns="360000" bIns="360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tabLst>
                <a:tab pos="173038" algn="l"/>
              </a:tabLst>
              <a:defRPr sz="1400" b="0">
                <a:solidFill>
                  <a:schemeClr val="bg1"/>
                </a:solidFill>
                <a:latin typeface="Montserrat" pitchFamily="2" charset="77"/>
              </a:defRPr>
            </a:lvl1pPr>
            <a:lvl2pPr marL="0" indent="179388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176213" algn="l"/>
              </a:tabLst>
              <a:defRPr sz="1200">
                <a:latin typeface="Montserrat" pitchFamily="2" charset="77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>
                <a:latin typeface="Montserrat" pitchFamily="2" charset="77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>
                <a:latin typeface="Montserrat" pitchFamily="2" charset="77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>
                <a:latin typeface="Montserrat" pitchFamily="2" charset="77"/>
              </a:defRPr>
            </a:lvl5pPr>
          </a:lstStyle>
          <a:p>
            <a:pPr>
              <a:tabLst>
                <a:tab pos="173038" algn="l"/>
              </a:tabLst>
            </a:pPr>
            <a:r>
              <a:rPr lang="en-US" b="1" dirty="0"/>
              <a:t>TEXT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063335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597431A-4D50-754B-A47B-FEDE9971BC4B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5AB9CC-80EA-5D4C-A5BF-E85A4E22090B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8CE699E-5AED-E144-A9B8-D0FF1B5EF9D8}"/>
              </a:ext>
            </a:extLst>
          </p:cNvPr>
          <p:cNvSpPr>
            <a:spLocks noGrp="1"/>
          </p:cNvSpPr>
          <p:nvPr userDrawn="1">
            <p:ph idx="10" hasCustomPrompt="1"/>
          </p:nvPr>
        </p:nvSpPr>
        <p:spPr>
          <a:xfrm>
            <a:off x="323353" y="1188720"/>
            <a:ext cx="11543362" cy="4876800"/>
          </a:xfrm>
          <a:prstGeom prst="rect">
            <a:avLst/>
          </a:prstGeom>
        </p:spPr>
        <p:txBody>
          <a:bodyPr vert="horz" lIns="0" tIns="0" rIns="0" bIns="0" numCol="1" spcCol="360000" rtlCol="0" anchor="ctr">
            <a:noAutofit/>
          </a:bodyPr>
          <a:lstStyle>
            <a:lvl1pPr marL="0" indent="0">
              <a:lnSpc>
                <a:spcPts val="13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7BD91AE1-C1E7-5D44-AEB6-9B49418DFB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70655FDF-493A-B049-B09C-369110F37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7175270-3C77-8943-ACD5-1B1BEB8293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sp>
        <p:nvSpPr>
          <p:cNvPr id="20" name="Title Placeholder 5">
            <a:extLst>
              <a:ext uri="{FF2B5EF4-FFF2-40B4-BE49-F238E27FC236}">
                <a16:creationId xmlns:a16="http://schemas.microsoft.com/office/drawing/2014/main" id="{05108727-670B-1446-98C1-DF71D970D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E61FB4-3C51-2241-8524-1EF00E15F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580591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8DE6D7EF-C1CF-444E-AD4E-3BE6AAA87B94}"/>
              </a:ext>
            </a:extLst>
          </p:cNvPr>
          <p:cNvSpPr/>
          <p:nvPr userDrawn="1"/>
        </p:nvSpPr>
        <p:spPr>
          <a:xfrm>
            <a:off x="0" y="848070"/>
            <a:ext cx="12192000" cy="5540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9B87F35-D7A8-594A-9AE9-419BF7A616AB}"/>
              </a:ext>
            </a:extLst>
          </p:cNvPr>
          <p:cNvSpPr/>
          <p:nvPr userDrawn="1"/>
        </p:nvSpPr>
        <p:spPr>
          <a:xfrm>
            <a:off x="0" y="6397073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ooter Placeholder 6">
            <a:extLst>
              <a:ext uri="{FF2B5EF4-FFF2-40B4-BE49-F238E27FC236}">
                <a16:creationId xmlns:a16="http://schemas.microsoft.com/office/drawing/2014/main" id="{9C877FAC-22AA-E943-BC82-B78AD7757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26" name="Slide Number Placeholder 8">
            <a:extLst>
              <a:ext uri="{FF2B5EF4-FFF2-40B4-BE49-F238E27FC236}">
                <a16:creationId xmlns:a16="http://schemas.microsoft.com/office/drawing/2014/main" id="{041BB0EA-C058-524C-B4D9-5755B1497F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0B4513B-80E3-EA49-AC10-7DB317F5A5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857B5C-9C97-544C-865D-D4BEB4B9D0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26F0D930-A2E3-C845-AE68-5452E17CA1E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23353" y="2232560"/>
            <a:ext cx="2771356" cy="3834608"/>
          </a:xfrm>
          <a:prstGeom prst="rect">
            <a:avLst/>
          </a:prstGeom>
        </p:spPr>
        <p:txBody>
          <a:bodyPr vert="horz" lIns="108000" tIns="108000" rIns="108000" bIns="10800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2200F53B-DD2A-2A45-892A-FE658BAB2EF9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247355" y="2232560"/>
            <a:ext cx="2771356" cy="3834608"/>
          </a:xfrm>
          <a:prstGeom prst="rect">
            <a:avLst/>
          </a:prstGeom>
        </p:spPr>
        <p:txBody>
          <a:bodyPr vert="horz" lIns="108000" tIns="108000" rIns="108000" bIns="10800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A4AC653-8F62-8C41-97E7-4C986EE3F89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171357" y="2232560"/>
            <a:ext cx="2771356" cy="3834608"/>
          </a:xfrm>
          <a:prstGeom prst="rect">
            <a:avLst/>
          </a:prstGeom>
        </p:spPr>
        <p:txBody>
          <a:bodyPr vert="horz" lIns="108000" tIns="108000" rIns="108000" bIns="10800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85B75DA7-A40C-A84A-8152-081B6E68353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095358" y="2232560"/>
            <a:ext cx="2771356" cy="3834608"/>
          </a:xfrm>
          <a:prstGeom prst="rect">
            <a:avLst/>
          </a:prstGeom>
        </p:spPr>
        <p:txBody>
          <a:bodyPr vert="horz" wrap="none" lIns="108000" tIns="108000" rIns="108000" bIns="108000" numCol="1" spcCol="360000" rtlCol="0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 i="0" spc="-3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Body Copy</a:t>
            </a:r>
          </a:p>
        </p:txBody>
      </p:sp>
      <p:sp>
        <p:nvSpPr>
          <p:cNvPr id="13" name="Title Placeholder 5">
            <a:extLst>
              <a:ext uri="{FF2B5EF4-FFF2-40B4-BE49-F238E27FC236}">
                <a16:creationId xmlns:a16="http://schemas.microsoft.com/office/drawing/2014/main" id="{DC04A934-3D3A-564B-B134-A0DB28E59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012050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8A119CF-3BD8-FF4C-A476-BCEC25FD9E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49C1CE5C-370F-9148-B5EC-80F671E971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560" y="616185"/>
            <a:ext cx="5886485" cy="133468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AC1FDFB-FD54-094C-8177-0EFD54CBB5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29560" y="1950865"/>
            <a:ext cx="5886485" cy="103028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9E2C0522-11E3-B14D-B627-34BCEB2EEC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29560" y="3013990"/>
            <a:ext cx="1195549" cy="543110"/>
          </a:xfrm>
        </p:spPr>
        <p:txBody>
          <a:bodyPr/>
          <a:lstStyle>
            <a:lvl1pPr>
              <a:defRPr sz="1800">
                <a:solidFill>
                  <a:srgbClr val="22347A"/>
                </a:solidFill>
              </a:defRPr>
            </a:lvl1pPr>
          </a:lstStyle>
          <a:p>
            <a:fld id="{B3FCE03A-150E-7149-9995-AEE6B6836D5C}" type="datetime1">
              <a:rPr lang="en-US" smtClean="0"/>
              <a:t>2/14/26</a:t>
            </a:fld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A4824BB-1F54-634B-8BA4-DA4955A4C2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65884" y="5611681"/>
            <a:ext cx="2750161" cy="63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03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47145D8-778A-7F4D-8573-F45EFF4699C9}"/>
              </a:ext>
            </a:extLst>
          </p:cNvPr>
          <p:cNvSpPr/>
          <p:nvPr userDrawn="1"/>
        </p:nvSpPr>
        <p:spPr>
          <a:xfrm>
            <a:off x="0" y="848069"/>
            <a:ext cx="12192000" cy="55405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A3BBAD-F0AE-4749-9A16-2B11EDE8F3A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79825" y="1871834"/>
            <a:ext cx="1604963" cy="1603375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034872EB-2B92-F44E-AA6A-5FCB013034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33593" y="1871834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49D9E6A-318B-6946-B0B9-F91DECD768D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87361" y="1871834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C190E760-4A59-DB4F-9B77-F1A4D79011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541129" y="1871834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C025FBC5-3B77-B044-B084-0028DEFCEB7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79825" y="3830595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2593436-DB15-D242-BD24-43837A70FAF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33593" y="3830595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EADCCA3E-810D-EA47-8A55-A08C6BA2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87361" y="3830595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6786D26-53C4-FD44-BE19-2B4F9B7B5DD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41129" y="3830595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488F3E6-3668-464C-A283-8578B1323F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353" y="1470239"/>
            <a:ext cx="3038740" cy="158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spc="-30" baseline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18AE82E-8AAC-9D49-BD35-A67C29DBE6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79825" y="3168356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B419222E-CFA7-354C-99D8-F89BCF917C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79825" y="3292588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5008ADCB-3F2E-E74B-A769-A4F8599767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32450" y="3168356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919BCC3-C1E5-2C42-B70B-DBCBD45335C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32450" y="3292588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44FCB0D-9B36-6849-99C9-39A16F8063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88250" y="3168356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63307A4-4590-D24B-9A3C-88182CA9BC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88250" y="3292588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8514F83C-74DA-1A4A-B12E-CD210EAB9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44050" y="3168356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99661B1-C5C3-AC44-B780-0E08C30875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44050" y="3292588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7F7793D9-F760-0444-8918-609689C998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79825" y="5134059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4C98F225-0103-8E4C-8974-A8239875C6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9825" y="5258291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233D13B-D2AB-804F-8265-D66241D070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450" y="5134059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6A19105-2B79-7E40-82F4-BFD312BF24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2450" y="5258291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4B543FE-5EC2-D940-A3DD-D891CF8C4B9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88250" y="5134059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31964DF-7A5C-1F45-A40F-C10BB3B896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88250" y="5258291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D167DB70-92C0-7646-BF64-FEA021CE29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44050" y="5134059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0" i="0" spc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D4BC3983-C76D-1845-8B21-4B8D4ED2D5A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44050" y="5258291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ts val="1550"/>
              </a:lnSpc>
              <a:buNone/>
              <a:defRPr sz="800" b="1" i="0" spc="0">
                <a:solidFill>
                  <a:schemeClr val="bg1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8EDF40C-796C-3E4C-AAD3-8F5DCD7D4BDB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Title Placeholder 5">
            <a:extLst>
              <a:ext uri="{FF2B5EF4-FFF2-40B4-BE49-F238E27FC236}">
                <a16:creationId xmlns:a16="http://schemas.microsoft.com/office/drawing/2014/main" id="{000A15A7-E2EE-984C-965C-BB5BC1524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50" name="Footer Placeholder 6">
            <a:extLst>
              <a:ext uri="{FF2B5EF4-FFF2-40B4-BE49-F238E27FC236}">
                <a16:creationId xmlns:a16="http://schemas.microsoft.com/office/drawing/2014/main" id="{D3D69168-400A-8A42-99DB-99108D815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51" name="Slide Number Placeholder 8">
            <a:extLst>
              <a:ext uri="{FF2B5EF4-FFF2-40B4-BE49-F238E27FC236}">
                <a16:creationId xmlns:a16="http://schemas.microsoft.com/office/drawing/2014/main" id="{CA860396-F057-AD4E-B903-689989964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2FB7B0F2-3C64-5D46-BAE0-F74377BABE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89F913A-F745-BD43-8A55-4E6CF1EC0E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585888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730B3C3-EA34-D54A-A86E-3610B6FCCC94}"/>
              </a:ext>
            </a:extLst>
          </p:cNvPr>
          <p:cNvSpPr/>
          <p:nvPr userDrawn="1"/>
        </p:nvSpPr>
        <p:spPr>
          <a:xfrm>
            <a:off x="0" y="848069"/>
            <a:ext cx="12192000" cy="55405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8CE699E-5AED-E144-A9B8-D0FF1B5EF9D8}"/>
              </a:ext>
            </a:extLst>
          </p:cNvPr>
          <p:cNvSpPr>
            <a:spLocks noGrp="1"/>
          </p:cNvSpPr>
          <p:nvPr userDrawn="1">
            <p:ph idx="10" hasCustomPrompt="1"/>
          </p:nvPr>
        </p:nvSpPr>
        <p:spPr>
          <a:xfrm>
            <a:off x="3680515" y="1472523"/>
            <a:ext cx="8186199" cy="4537407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>
              <a:lnSpc>
                <a:spcPts val="1100"/>
              </a:lnSpc>
              <a:spcAft>
                <a:spcPts val="1100"/>
              </a:spcAft>
              <a:defRPr lang="en-US" sz="1200" b="0" i="0" kern="1200" spc="-30" baseline="0" dirty="0">
                <a:solidFill>
                  <a:srgbClr val="161616"/>
                </a:solidFill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ts val="1100"/>
              </a:lnSpc>
              <a:spcBef>
                <a:spcPts val="0"/>
              </a:spcBef>
              <a:spcAft>
                <a:spcPts val="1100"/>
              </a:spcAft>
              <a:buFont typeface="Arial" panose="020B0604020202020204" pitchFamily="34" charset="0"/>
              <a:buNone/>
            </a:pPr>
            <a:r>
              <a:rPr lang="en-US" dirty="0"/>
              <a:t>Body Copy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7725A1E-0EFE-3E49-A66C-74D4E686F46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3352" y="1473209"/>
            <a:ext cx="1604963" cy="160337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000" b="0" i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1CEB460-658E-7341-BFE6-6C480F09EB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352" y="3137414"/>
            <a:ext cx="1604963" cy="1160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 b="1" i="0" spc="0">
                <a:solidFill>
                  <a:srgbClr val="161616"/>
                </a:solidFill>
                <a:latin typeface="Montserrat SemiBold" pitchFamily="2" charset="77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5960D41-1250-A64D-8C75-1B3A0A144662}"/>
              </a:ext>
            </a:extLst>
          </p:cNvPr>
          <p:cNvSpPr/>
          <p:nvPr userDrawn="1"/>
        </p:nvSpPr>
        <p:spPr>
          <a:xfrm>
            <a:off x="-12440" y="638860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itle Placeholder 5">
            <a:extLst>
              <a:ext uri="{FF2B5EF4-FFF2-40B4-BE49-F238E27FC236}">
                <a16:creationId xmlns:a16="http://schemas.microsoft.com/office/drawing/2014/main" id="{3CEF4669-09B5-5442-980A-534EB2AD4F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22" name="Footer Placeholder 6">
            <a:extLst>
              <a:ext uri="{FF2B5EF4-FFF2-40B4-BE49-F238E27FC236}">
                <a16:creationId xmlns:a16="http://schemas.microsoft.com/office/drawing/2014/main" id="{B71ECC17-1133-CA46-BCCB-846356F05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23" name="Slide Number Placeholder 8">
            <a:extLst>
              <a:ext uri="{FF2B5EF4-FFF2-40B4-BE49-F238E27FC236}">
                <a16:creationId xmlns:a16="http://schemas.microsoft.com/office/drawing/2014/main" id="{ABC24C20-5070-E347-B0EF-708083B308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2722BAD-F661-E243-8140-D1B56E4A4A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D3F58D9-B0EC-6847-9450-3F6A08C88E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005148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7AE0F1C-99F6-C24C-A15D-737D7404B4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pc="0">
                <a:solidFill>
                  <a:srgbClr val="161616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icture goes here</a:t>
            </a:r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D7F56129-F1B2-4C42-BC15-240F745EC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3429000"/>
            <a:ext cx="4034237" cy="15765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2400" b="0" i="0" spc="-3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GB" dirty="0"/>
              <a:t>EVRAZ</a:t>
            </a:r>
            <a:br>
              <a:rPr lang="en-GB" dirty="0"/>
            </a:br>
            <a:r>
              <a:rPr lang="en-GB" dirty="0"/>
              <a:t>Branding the Product Portfolio</a:t>
            </a:r>
            <a:br>
              <a:rPr lang="en-GB" dirty="0"/>
            </a:br>
            <a:r>
              <a:rPr lang="en-GB" dirty="0"/>
              <a:t>Pilot for Wheels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4DEA78E-001D-7749-A685-78B3365B9BD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353" y="6123326"/>
            <a:ext cx="3038740" cy="452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spc="-3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February 2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30698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"/>
          <p:cNvSpPr/>
          <p:nvPr/>
        </p:nvSpPr>
        <p:spPr>
          <a:xfrm>
            <a:off x="0" y="0"/>
            <a:ext cx="12192000" cy="127000"/>
          </a:xfrm>
          <a:prstGeom prst="rect">
            <a:avLst/>
          </a:prstGeom>
          <a:solidFill>
            <a:srgbClr val="F5BAC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+mn-lt"/>
                <a:ea typeface="+mn-ea"/>
                <a:cs typeface="+mn-cs"/>
                <a:sym typeface="Calibri"/>
              </a:defRPr>
            </a:pPr>
            <a:endParaRPr dirty="0"/>
          </a:p>
        </p:txBody>
      </p:sp>
      <p:sp>
        <p:nvSpPr>
          <p:cNvPr id="41" name="Rectangle"/>
          <p:cNvSpPr/>
          <p:nvPr/>
        </p:nvSpPr>
        <p:spPr>
          <a:xfrm>
            <a:off x="0" y="6731000"/>
            <a:ext cx="12192000" cy="127000"/>
          </a:xfrm>
          <a:prstGeom prst="rect">
            <a:avLst/>
          </a:prstGeom>
          <a:solidFill>
            <a:srgbClr val="F5BAC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+mn-lt"/>
                <a:ea typeface="+mn-ea"/>
                <a:cs typeface="+mn-cs"/>
                <a:sym typeface="Calibri"/>
              </a:defRPr>
            </a:pPr>
            <a:endParaRPr dirty="0"/>
          </a:p>
        </p:txBody>
      </p:sp>
      <p:sp>
        <p:nvSpPr>
          <p:cNvPr id="42" name="Rectangle"/>
          <p:cNvSpPr/>
          <p:nvPr/>
        </p:nvSpPr>
        <p:spPr>
          <a:xfrm>
            <a:off x="0" y="0"/>
            <a:ext cx="127000" cy="6858001"/>
          </a:xfrm>
          <a:prstGeom prst="rect">
            <a:avLst/>
          </a:prstGeom>
          <a:solidFill>
            <a:srgbClr val="F5BAC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+mn-lt"/>
                <a:ea typeface="+mn-ea"/>
                <a:cs typeface="+mn-cs"/>
                <a:sym typeface="Calibri"/>
              </a:defRPr>
            </a:pPr>
            <a:endParaRPr dirty="0"/>
          </a:p>
        </p:txBody>
      </p:sp>
      <p:sp>
        <p:nvSpPr>
          <p:cNvPr id="43" name="Rectangle"/>
          <p:cNvSpPr/>
          <p:nvPr/>
        </p:nvSpPr>
        <p:spPr>
          <a:xfrm>
            <a:off x="12065000" y="0"/>
            <a:ext cx="127000" cy="6858001"/>
          </a:xfrm>
          <a:prstGeom prst="rect">
            <a:avLst/>
          </a:prstGeom>
          <a:solidFill>
            <a:srgbClr val="F5BAC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+mn-lt"/>
                <a:ea typeface="+mn-ea"/>
                <a:cs typeface="+mn-cs"/>
                <a:sym typeface="Calibri"/>
              </a:defRPr>
            </a:pPr>
            <a:endParaRPr dirty="0"/>
          </a:p>
        </p:txBody>
      </p:sp>
      <p:grpSp>
        <p:nvGrpSpPr>
          <p:cNvPr id="46" name="Group"/>
          <p:cNvGrpSpPr/>
          <p:nvPr/>
        </p:nvGrpSpPr>
        <p:grpSpPr>
          <a:xfrm>
            <a:off x="11025151" y="6412340"/>
            <a:ext cx="557251" cy="214635"/>
            <a:chOff x="0" y="0"/>
            <a:chExt cx="557249" cy="214633"/>
          </a:xfrm>
        </p:grpSpPr>
        <p:pic>
          <p:nvPicPr>
            <p:cNvPr id="44" name="Image" descr="Image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33135"/>
              <a:ext cx="444367" cy="17376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45" name="Line"/>
            <p:cNvSpPr/>
            <p:nvPr/>
          </p:nvSpPr>
          <p:spPr>
            <a:xfrm flipV="1">
              <a:off x="557248" y="0"/>
              <a:ext cx="2" cy="214635"/>
            </a:xfrm>
            <a:prstGeom prst="line">
              <a:avLst/>
            </a:prstGeom>
            <a:noFill/>
            <a:ln w="3175" cap="flat">
              <a:solidFill>
                <a:srgbClr val="867F7C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dirty="0"/>
            </a:p>
          </p:txBody>
        </p:sp>
      </p:grpSp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6792" y="6392231"/>
            <a:ext cx="237616" cy="256539"/>
          </a:xfrm>
          <a:prstGeom prst="rect">
            <a:avLst/>
          </a:prstGeom>
        </p:spPr>
        <p:txBody>
          <a:bodyPr lIns="45718" tIns="45718" rIns="45718" bIns="45718"/>
          <a:lstStyle>
            <a:lvl1pPr algn="ctr" defTabSz="914400">
              <a:defRPr b="1">
                <a:solidFill>
                  <a:srgbClr val="867F7C"/>
                </a:solidFill>
                <a:latin typeface="Ogilvy Serif"/>
                <a:ea typeface="Ogilvy Serif"/>
                <a:cs typeface="Ogilvy Serif"/>
                <a:sym typeface="Ogilvy Serif"/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295373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RED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7" name="Body Level One…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E42D962B-C1DB-A041-A431-550CAA1C359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57820" y="6609522"/>
            <a:ext cx="508102" cy="151530"/>
          </a:xfrm>
          <a:prstGeom prst="rect">
            <a:avLst/>
          </a:prstGeom>
        </p:spPr>
        <p:txBody>
          <a:bodyPr/>
          <a:lstStyle>
            <a:lvl1pPr>
              <a:defRPr sz="70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464499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448EFDB-0C52-774E-8648-4E04253E7F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A80439D-01B7-5640-9DBE-AAF8493B1F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948" y="3213876"/>
            <a:ext cx="7822020" cy="133468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31DD80-8B51-6846-AB6E-1AAD48635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948" y="4548556"/>
            <a:ext cx="7822020" cy="103028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947DA-B582-2E46-8D2F-25FE2C40D4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6948" y="5611681"/>
            <a:ext cx="1588658" cy="543110"/>
          </a:xfrm>
        </p:spPr>
        <p:txBody>
          <a:bodyPr/>
          <a:lstStyle>
            <a:lvl1pPr>
              <a:defRPr sz="1800">
                <a:solidFill>
                  <a:srgbClr val="22347A"/>
                </a:solidFill>
              </a:defRPr>
            </a:lvl1pPr>
          </a:lstStyle>
          <a:p>
            <a:fld id="{B3FCE03A-150E-7149-9995-AEE6B6836D5C}" type="datetime1">
              <a:rPr lang="en-US" smtClean="0"/>
              <a:t>2/14/26</a:t>
            </a:fld>
            <a:endParaRPr lang="en-US" sz="18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EA30A5-0768-AA44-B463-EDBCBF1BF1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65884" y="5611681"/>
            <a:ext cx="2750161" cy="63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2893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1A30B-655F-6548-861A-9810B89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7802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CD21B8-AF8C-9F44-98DB-91B2E31C4E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28156"/>
            <a:ext cx="10515600" cy="504880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03623A-0865-D642-80B9-FA3FE8016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92A8E-B31D-0649-AD82-46249E2D7F89}" type="datetime1">
              <a:rPr lang="en-US" smtClean="0"/>
              <a:t>2/14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C8E934-78B2-8247-84AB-145E756535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92939-22E5-2F4B-B0FF-007D3E76C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339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843675BE-7968-99C7-EA24-3D042D31F849}"/>
              </a:ext>
            </a:extLst>
          </p:cNvPr>
          <p:cNvGrpSpPr/>
          <p:nvPr userDrawn="1"/>
        </p:nvGrpSpPr>
        <p:grpSpPr>
          <a:xfrm rot="16200000" flipV="1">
            <a:off x="-1" y="2920999"/>
            <a:ext cx="3949700" cy="3949700"/>
            <a:chOff x="0" y="202079"/>
            <a:chExt cx="4996703" cy="499670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75390B8-AD8B-6395-3F6E-BAC44B827BF4}"/>
                </a:ext>
              </a:extLst>
            </p:cNvPr>
            <p:cNvSpPr/>
            <p:nvPr userDrawn="1"/>
          </p:nvSpPr>
          <p:spPr>
            <a:xfrm>
              <a:off x="0" y="2703232"/>
              <a:ext cx="2495550" cy="2495550"/>
            </a:xfrm>
            <a:prstGeom prst="rect">
              <a:avLst/>
            </a:prstGeom>
            <a:solidFill>
              <a:srgbClr val="0921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5947F6F-79D7-884C-7F67-E07ABDAB9FC2}"/>
                </a:ext>
              </a:extLst>
            </p:cNvPr>
            <p:cNvSpPr/>
            <p:nvPr userDrawn="1"/>
          </p:nvSpPr>
          <p:spPr>
            <a:xfrm>
              <a:off x="2501153" y="2703232"/>
              <a:ext cx="2495550" cy="2495550"/>
            </a:xfrm>
            <a:prstGeom prst="rect">
              <a:avLst/>
            </a:prstGeom>
            <a:solidFill>
              <a:srgbClr val="7FE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634BAE-A807-04BF-AF76-C61F6A412DFC}"/>
                </a:ext>
              </a:extLst>
            </p:cNvPr>
            <p:cNvSpPr/>
            <p:nvPr userDrawn="1"/>
          </p:nvSpPr>
          <p:spPr>
            <a:xfrm>
              <a:off x="0" y="202079"/>
              <a:ext cx="2495550" cy="2495550"/>
            </a:xfrm>
            <a:prstGeom prst="rect">
              <a:avLst/>
            </a:prstGeom>
            <a:solidFill>
              <a:srgbClr val="4497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68FA24B0-7C7B-353B-2FE8-E24F978953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801" y="3429000"/>
            <a:ext cx="2239060" cy="273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2170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E2DBC85-AE5E-2F39-4038-D0CA56CB0D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7001"/>
            <a:ext cx="10515600" cy="4779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2133" kern="1200" dirty="0" smtClean="0">
                <a:solidFill>
                  <a:schemeClr val="tx1"/>
                </a:solidFill>
                <a:latin typeface="BrownMedium" panose="00000400000000000000" pitchFamily="2" charset="0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1867" kern="1200" dirty="0" smtClean="0">
                <a:solidFill>
                  <a:schemeClr val="tx1"/>
                </a:solidFill>
                <a:latin typeface="BrownMedium" panose="00000400000000000000" pitchFamily="2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1600" kern="1200" dirty="0" smtClean="0">
                <a:solidFill>
                  <a:schemeClr val="tx1"/>
                </a:solidFill>
                <a:latin typeface="BrownMedium" panose="00000400000000000000" pitchFamily="2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1467" kern="1200" dirty="0" smtClean="0">
                <a:solidFill>
                  <a:schemeClr val="tx1"/>
                </a:solidFill>
                <a:latin typeface="BrownMedium" panose="00000400000000000000" pitchFamily="2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333" kern="1200" dirty="0">
                <a:solidFill>
                  <a:schemeClr val="tx1"/>
                </a:solidFill>
                <a:latin typeface="BrownMedium" panose="00000400000000000000" pitchFamily="2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4D50734-A528-73FF-606F-107E6797BF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827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2pPr marL="609585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2pPr>
          </a:lstStyle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13C9A4-98C2-DEFE-8020-41F857CB0A1A}"/>
              </a:ext>
            </a:extLst>
          </p:cNvPr>
          <p:cNvSpPr txBox="1"/>
          <p:nvPr userDrawn="1"/>
        </p:nvSpPr>
        <p:spPr>
          <a:xfrm>
            <a:off x="3990009" y="6488669"/>
            <a:ext cx="4597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r>
              <a:rPr lang="en-US" sz="1600" dirty="0">
                <a:solidFill>
                  <a:srgbClr val="4497F7"/>
                </a:solidFill>
                <a:latin typeface="Abadi" panose="020B0604020104020204" pitchFamily="34" charset="0"/>
              </a:rPr>
              <a:t>MASB SUMMER SUMMIT • August 13-14, 2025</a:t>
            </a:r>
          </a:p>
        </p:txBody>
      </p:sp>
    </p:spTree>
    <p:extLst>
      <p:ext uri="{BB962C8B-B14F-4D97-AF65-F5344CB8AC3E}">
        <p14:creationId xmlns:p14="http://schemas.microsoft.com/office/powerpoint/2010/main" val="1465751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33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667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260923" y="6371032"/>
            <a:ext cx="1451187" cy="287259"/>
          </a:xfrm>
        </p:spPr>
        <p:txBody>
          <a:bodyPr lIns="0" tIns="0" rIns="0" bIns="0"/>
          <a:lstStyle>
            <a:lvl1pPr>
              <a:defRPr sz="1200" b="0" i="0">
                <a:solidFill>
                  <a:srgbClr val="66CCFF"/>
                </a:solidFill>
                <a:latin typeface="Arial Rounded MT Bold"/>
                <a:cs typeface="Arial Rounded MT Bold"/>
              </a:defRPr>
            </a:lvl1pPr>
          </a:lstStyle>
          <a:p>
            <a:pPr marL="16933">
              <a:spcBef>
                <a:spcPts val="33"/>
              </a:spcBef>
            </a:pP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292765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1E5BB0-7099-4646-9534-3E8BF5E565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30700" y="3022860"/>
            <a:ext cx="35306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600213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02708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olorful smoke on a white background&#10;&#10;AI-generated content may be incorrect.">
            <a:extLst>
              <a:ext uri="{FF2B5EF4-FFF2-40B4-BE49-F238E27FC236}">
                <a16:creationId xmlns:a16="http://schemas.microsoft.com/office/drawing/2014/main" id="{8389FF83-538E-CA89-D7A0-E2016ABDA4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-1"/>
            <a:ext cx="12190476" cy="6858857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895B6F9-54DB-428E-9A0A-FA1DD7C58F6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3408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EAF537B-32FD-F1BD-5725-76C94E89C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361" y="2384818"/>
            <a:ext cx="12215359" cy="447318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DBB779E-BCA7-3DDD-02D4-10740C83A36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999E274-DB62-9A39-58F3-AA8066CFB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FA641D8-94DE-55A9-BB29-0E078BE4D1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C61ED2D-5273-C04A-9780-B378A792B6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3796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CC9C48B-8F01-477C-A429-B5E465F5632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8980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919E3D3-0D4F-48CE-AB93-69E448E9847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1994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87B06F-69A6-4EAD-A196-9FC5E6C0FDA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32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337485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01666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81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83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3753F65-7845-8544-86E2-63DB1B772C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37966" y="3002046"/>
            <a:ext cx="4516068" cy="1096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697587"/>
      </p:ext>
    </p:extLst>
  </p:cSld>
  <p:clrMapOvr>
    <a:masterClrMapping/>
  </p:clrMapOvr>
  <p:transition spd="slow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967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907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21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367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33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7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77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692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81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325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6313943"/>
      </p:ext>
    </p:extLst>
  </p:cSld>
  <p:clrMapOvr>
    <a:masterClrMapping/>
  </p:clrMapOvr>
  <p:transition spd="slow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6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91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691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75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E02EB51-B07F-7E45-B40F-3398DA8BD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10003"/>
            <a:ext cx="12192001" cy="304799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32">
            <a:extLst>
              <a:ext uri="{FF2B5EF4-FFF2-40B4-BE49-F238E27FC236}">
                <a16:creationId xmlns:a16="http://schemas.microsoft.com/office/drawing/2014/main" id="{00DBB27C-DB5A-CE74-1F5C-95C9C67ECE49}"/>
              </a:ext>
            </a:extLst>
          </p:cNvPr>
          <p:cNvCxnSpPr/>
          <p:nvPr userDrawn="1"/>
        </p:nvCxnSpPr>
        <p:spPr>
          <a:xfrm>
            <a:off x="359999" y="6119996"/>
            <a:ext cx="11474165" cy="0"/>
          </a:xfrm>
          <a:prstGeom prst="straightConnector1">
            <a:avLst/>
          </a:prstGeom>
          <a:noFill/>
          <a:ln w="38103" cap="flat">
            <a:solidFill>
              <a:srgbClr val="333333"/>
            </a:solidFill>
            <a:prstDash val="solid"/>
            <a:miter/>
          </a:ln>
        </p:spPr>
      </p:cxnSp>
      <p:pic>
        <p:nvPicPr>
          <p:cNvPr id="7" name="Graphic 37">
            <a:extLst>
              <a:ext uri="{FF2B5EF4-FFF2-40B4-BE49-F238E27FC236}">
                <a16:creationId xmlns:a16="http://schemas.microsoft.com/office/drawing/2014/main" id="{D935093A-3925-5B01-3E52-5AA3B4B104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7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3880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9AB7BB0-5E98-2A41-BDF8-E0954A984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44801"/>
            <a:ext cx="12192000" cy="1313542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buNone/>
              <a:defRPr sz="4000" b="0" i="0" baseline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2800" b="1" i="0">
                <a:latin typeface="Montserrat SemiBold" pitchFamily="2" charset="77"/>
              </a:defRPr>
            </a:lvl2pPr>
            <a:lvl3pPr>
              <a:defRPr sz="2800" b="1" i="0">
                <a:latin typeface="Montserrat SemiBold" pitchFamily="2" charset="77"/>
              </a:defRPr>
            </a:lvl3pPr>
            <a:lvl4pPr>
              <a:defRPr sz="2800" b="1" i="0">
                <a:latin typeface="Montserrat SemiBold" pitchFamily="2" charset="77"/>
              </a:defRPr>
            </a:lvl4pPr>
            <a:lvl5pPr>
              <a:defRPr sz="2800" b="1" i="0">
                <a:latin typeface="Montserrat SemiBold" pitchFamily="2" charset="77"/>
              </a:defRPr>
            </a:lvl5pPr>
          </a:lstStyle>
          <a:p>
            <a:pPr lvl="0"/>
            <a:r>
              <a:rPr lang="en-GB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349792808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514E68-C1C7-A440-9461-93333D723D71}"/>
              </a:ext>
            </a:extLst>
          </p:cNvPr>
          <p:cNvSpPr/>
          <p:nvPr userDrawn="1"/>
        </p:nvSpPr>
        <p:spPr>
          <a:xfrm>
            <a:off x="-12440" y="639928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F8184BB-0D66-D842-B9CD-63DB7AA1F206}"/>
              </a:ext>
            </a:extLst>
          </p:cNvPr>
          <p:cNvCxnSpPr>
            <a:cxnSpLocks/>
          </p:cNvCxnSpPr>
          <p:nvPr userDrawn="1"/>
        </p:nvCxnSpPr>
        <p:spPr>
          <a:xfrm>
            <a:off x="0" y="6388460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09F8307-3350-754D-ACF0-3D91B35905E0}"/>
              </a:ext>
            </a:extLst>
          </p:cNvPr>
          <p:cNvCxnSpPr>
            <a:cxnSpLocks/>
          </p:cNvCxnSpPr>
          <p:nvPr userDrawn="1"/>
        </p:nvCxnSpPr>
        <p:spPr>
          <a:xfrm>
            <a:off x="0" y="839605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13C5C29-ACC1-6145-939C-11C9F8DEAFC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20888" y="1472064"/>
            <a:ext cx="3549654" cy="158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 sz="1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3AEADBB0-C9AE-DA46-8DA0-17020881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BC0A7A83-E11D-7840-A1DB-1912E86FCE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2B64F1B-A6B9-324B-AE2D-FDF7A23B6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sp>
        <p:nvSpPr>
          <p:cNvPr id="22" name="Title Placeholder 5">
            <a:extLst>
              <a:ext uri="{FF2B5EF4-FFF2-40B4-BE49-F238E27FC236}">
                <a16:creationId xmlns:a16="http://schemas.microsoft.com/office/drawing/2014/main" id="{BCF15ED1-7CC1-694B-97A1-F7EC2CEA8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1E473E-BD2D-F949-8CE7-663B9CBA48A1}"/>
              </a:ext>
            </a:extLst>
          </p:cNvPr>
          <p:cNvSpPr/>
          <p:nvPr userDrawn="1"/>
        </p:nvSpPr>
        <p:spPr>
          <a:xfrm>
            <a:off x="4271375" y="839605"/>
            <a:ext cx="7920625" cy="5559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86659C-9F00-194F-ADAA-F2C47A4E66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04530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F8184BB-0D66-D842-B9CD-63DB7AA1F206}"/>
              </a:ext>
            </a:extLst>
          </p:cNvPr>
          <p:cNvCxnSpPr>
            <a:cxnSpLocks/>
          </p:cNvCxnSpPr>
          <p:nvPr userDrawn="1"/>
        </p:nvCxnSpPr>
        <p:spPr>
          <a:xfrm>
            <a:off x="0" y="6388460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09F8307-3350-754D-ACF0-3D91B35905E0}"/>
              </a:ext>
            </a:extLst>
          </p:cNvPr>
          <p:cNvCxnSpPr>
            <a:cxnSpLocks/>
          </p:cNvCxnSpPr>
          <p:nvPr userDrawn="1"/>
        </p:nvCxnSpPr>
        <p:spPr>
          <a:xfrm>
            <a:off x="0" y="839605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3AEADBB0-C9AE-DA46-8DA0-17020881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BC0A7A83-E11D-7840-A1DB-1912E86FCE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2B64F1B-A6B9-324B-AE2D-FDF7A23B6F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  <p:sp>
        <p:nvSpPr>
          <p:cNvPr id="22" name="Title Placeholder 5">
            <a:extLst>
              <a:ext uri="{FF2B5EF4-FFF2-40B4-BE49-F238E27FC236}">
                <a16:creationId xmlns:a16="http://schemas.microsoft.com/office/drawing/2014/main" id="{BCF15ED1-7CC1-694B-97A1-F7EC2CEA8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DC548EB-B90D-C74E-932E-CE655ECD5428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1483921" y="6522571"/>
            <a:ext cx="129600" cy="2304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D31694-3615-D245-8C0E-52AD5B9293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352" y="1472064"/>
            <a:ext cx="11543361" cy="4546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146319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DF23DFA-EF5F-C448-B67A-B8CA066326A0}"/>
              </a:ext>
            </a:extLst>
          </p:cNvPr>
          <p:cNvSpPr/>
          <p:nvPr userDrawn="1"/>
        </p:nvSpPr>
        <p:spPr>
          <a:xfrm>
            <a:off x="-12440" y="6399288"/>
            <a:ext cx="12204440" cy="547146"/>
          </a:xfrm>
          <a:prstGeom prst="rect">
            <a:avLst/>
          </a:prstGeom>
          <a:solidFill>
            <a:srgbClr val="00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5AB9CC-80EA-5D4C-A5BF-E85A4E22090B}"/>
              </a:ext>
            </a:extLst>
          </p:cNvPr>
          <p:cNvSpPr/>
          <p:nvPr userDrawn="1"/>
        </p:nvSpPr>
        <p:spPr>
          <a:xfrm>
            <a:off x="0" y="839605"/>
            <a:ext cx="12192000" cy="554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AA78FB-3471-5C46-B98F-EBBBA5A90D4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20888" y="1472064"/>
            <a:ext cx="3038740" cy="158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rgbClr val="0090BF"/>
                </a:solidFill>
                <a:latin typeface="Montserra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b Text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8CE699E-5AED-E144-A9B8-D0FF1B5EF9D8}"/>
              </a:ext>
            </a:extLst>
          </p:cNvPr>
          <p:cNvSpPr>
            <a:spLocks noGrp="1"/>
          </p:cNvSpPr>
          <p:nvPr userDrawn="1">
            <p:ph idx="10" hasCustomPrompt="1"/>
          </p:nvPr>
        </p:nvSpPr>
        <p:spPr>
          <a:xfrm>
            <a:off x="3680515" y="1472064"/>
            <a:ext cx="8186199" cy="45463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ts val="1300"/>
              </a:lnSpc>
              <a:spcAft>
                <a:spcPts val="1300"/>
              </a:spcAft>
              <a:defRPr lang="en-US" sz="1200" b="0" i="0" kern="1200" spc="-30" baseline="0" dirty="0">
                <a:solidFill>
                  <a:srgbClr val="161616"/>
                </a:solidFill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ts val="1100"/>
              </a:lnSpc>
              <a:spcBef>
                <a:spcPts val="0"/>
              </a:spcBef>
              <a:spcAft>
                <a:spcPts val="1100"/>
              </a:spcAft>
              <a:buFont typeface="Arial" panose="020B0604020202020204" pitchFamily="34" charset="0"/>
              <a:buNone/>
            </a:pPr>
            <a:r>
              <a:rPr lang="en-US" dirty="0"/>
              <a:t>Body Copy</a:t>
            </a:r>
          </a:p>
        </p:txBody>
      </p:sp>
      <p:sp>
        <p:nvSpPr>
          <p:cNvPr id="25" name="Title Placeholder 5">
            <a:extLst>
              <a:ext uri="{FF2B5EF4-FFF2-40B4-BE49-F238E27FC236}">
                <a16:creationId xmlns:a16="http://schemas.microsoft.com/office/drawing/2014/main" id="{3261AC2A-3165-F248-A5C3-DABDEAA795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352" y="0"/>
            <a:ext cx="11543362" cy="8396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GB" dirty="0"/>
              <a:t>Insights for Brands - Subheading one line only</a:t>
            </a:r>
            <a:endParaRPr lang="en-US" dirty="0"/>
          </a:p>
        </p:txBody>
      </p:sp>
      <p:sp>
        <p:nvSpPr>
          <p:cNvPr id="26" name="Footer Placeholder 6">
            <a:extLst>
              <a:ext uri="{FF2B5EF4-FFF2-40B4-BE49-F238E27FC236}">
                <a16:creationId xmlns:a16="http://schemas.microsoft.com/office/drawing/2014/main" id="{8DEE0F4B-221A-9B46-9CC7-7E31CBF096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0515" y="6531036"/>
            <a:ext cx="7382833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© 2022 Presciant – All Rights Reserved | &lt;change text in header/footer to doc name&gt;</a:t>
            </a:r>
          </a:p>
        </p:txBody>
      </p:sp>
      <p:sp>
        <p:nvSpPr>
          <p:cNvPr id="27" name="Slide Number Placeholder 8">
            <a:extLst>
              <a:ext uri="{FF2B5EF4-FFF2-40B4-BE49-F238E27FC236}">
                <a16:creationId xmlns:a16="http://schemas.microsoft.com/office/drawing/2014/main" id="{7A22C6FD-C72E-C640-84AC-6419F20B1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E1848CB7-BAF0-0C4F-9947-604B3D4BE2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31703DD-6014-7843-913D-7A909E37A4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85521" y="6522572"/>
            <a:ext cx="127000" cy="228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BBCF2D4-5F94-E649-B6AF-8B84294302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87" y="6510334"/>
            <a:ext cx="973162" cy="21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274970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tiff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image" Target="../media/image17.sv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B53A043-9CF5-6C46-AA8A-B5AF7A84D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6217303"/>
            <a:ext cx="12192000" cy="275572"/>
          </a:xfrm>
          <a:prstGeom prst="rect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3A49E75C-1F00-4349-9187-AFD42E6B1E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201483" y="-191394"/>
            <a:ext cx="3473301" cy="179571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819DE0-CB53-F444-B4AD-9EB953B2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65125"/>
            <a:ext cx="11453037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7340C-FAAD-4948-9B5C-0679118A3D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825625"/>
            <a:ext cx="1145303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F69993-E28A-6B4F-A6D5-847F895CBE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17460" y="6356350"/>
            <a:ext cx="10118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2D7FB1E-FF62-E64B-8D06-96DBCD37950A}" type="datetime1">
              <a:rPr lang="en-US" smtClean="0"/>
              <a:pPr/>
              <a:t>2/14/26</a:t>
            </a:fld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1C0F5F-845E-0F4A-B084-A4FDF4075A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39188" y="6356350"/>
            <a:ext cx="3578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40B9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40B977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9DD0C-5337-5443-87DF-3B4F25A051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0366" y="6356350"/>
            <a:ext cx="5759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234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58DAC43-1CF5-B041-9EC6-C41F5829B3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6F1760-03E2-E848-AE58-EF1F373BD9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1650" y="6411204"/>
            <a:ext cx="1328292" cy="288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9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rgbClr val="22347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6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386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4" r:id="rId20"/>
    <p:sldLayoutId id="2147483685" r:id="rId21"/>
    <p:sldLayoutId id="2147483686" r:id="rId22"/>
    <p:sldLayoutId id="2147483687" r:id="rId23"/>
    <p:sldLayoutId id="2147483688" r:id="rId24"/>
  </p:sldLayoutIdLst>
  <p:transition spd="slow">
    <p:wipe dir="r"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i="0" kern="1200" spc="-30" baseline="0">
          <a:solidFill>
            <a:schemeClr val="bg1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550"/>
        </a:lnSpc>
        <a:spcBef>
          <a:spcPct val="0"/>
        </a:spcBef>
        <a:buFont typeface="Arial" panose="020B0604020202020204" pitchFamily="34" charset="0"/>
        <a:buNone/>
        <a:defRPr lang="en-GB" sz="1550" b="0" i="0" kern="1200" spc="-30" baseline="0" dirty="0" smtClean="0">
          <a:solidFill>
            <a:schemeClr val="bg1"/>
          </a:solidFill>
          <a:latin typeface="Montserrat" pitchFamily="2" charset="77"/>
          <a:ea typeface="+mj-ea"/>
          <a:cs typeface="+mj-cs"/>
        </a:defRPr>
      </a:lvl1pPr>
      <a:lvl2pPr marL="0" indent="0" algn="l" defTabSz="914400" rtl="0" eaLnBrk="1" latinLnBrk="0" hangingPunct="1">
        <a:lnSpc>
          <a:spcPts val="1650"/>
        </a:lnSpc>
        <a:spcBef>
          <a:spcPct val="0"/>
        </a:spcBef>
        <a:buFont typeface="Arial" panose="020B0604020202020204" pitchFamily="34" charset="0"/>
        <a:buNone/>
        <a:defRPr lang="en-GB" sz="1550" b="0" i="0" kern="1200" spc="-30" baseline="0" dirty="0" smtClean="0">
          <a:solidFill>
            <a:schemeClr val="bg1"/>
          </a:solidFill>
          <a:latin typeface="Montserrat" pitchFamily="2" charset="77"/>
          <a:ea typeface="+mj-ea"/>
          <a:cs typeface="+mj-cs"/>
        </a:defRPr>
      </a:lvl2pPr>
      <a:lvl3pPr marL="0" indent="0" algn="l" defTabSz="914400" rtl="0" eaLnBrk="1" latinLnBrk="0" hangingPunct="1">
        <a:lnSpc>
          <a:spcPts val="1650"/>
        </a:lnSpc>
        <a:spcBef>
          <a:spcPct val="0"/>
        </a:spcBef>
        <a:buFont typeface="Arial" panose="020B0604020202020204" pitchFamily="34" charset="0"/>
        <a:buNone/>
        <a:defRPr lang="en-GB" sz="1550" b="0" i="0" kern="1200" spc="-30" baseline="0" dirty="0" smtClean="0">
          <a:solidFill>
            <a:schemeClr val="bg1"/>
          </a:solidFill>
          <a:latin typeface="Montserrat" pitchFamily="2" charset="77"/>
          <a:ea typeface="+mj-ea"/>
          <a:cs typeface="+mj-cs"/>
        </a:defRPr>
      </a:lvl3pPr>
      <a:lvl4pPr marL="0" indent="0" algn="l" defTabSz="914400" rtl="0" eaLnBrk="1" latinLnBrk="0" hangingPunct="1">
        <a:lnSpc>
          <a:spcPts val="1650"/>
        </a:lnSpc>
        <a:spcBef>
          <a:spcPct val="0"/>
        </a:spcBef>
        <a:buFont typeface="Arial" panose="020B0604020202020204" pitchFamily="34" charset="0"/>
        <a:buNone/>
        <a:defRPr lang="en-GB" sz="1550" b="0" i="0" kern="1200" spc="-30" baseline="0" dirty="0" smtClean="0">
          <a:solidFill>
            <a:schemeClr val="bg1"/>
          </a:solidFill>
          <a:latin typeface="Montserrat" pitchFamily="2" charset="77"/>
          <a:ea typeface="+mj-ea"/>
          <a:cs typeface="+mj-cs"/>
        </a:defRPr>
      </a:lvl4pPr>
      <a:lvl5pPr marL="0" indent="0" algn="l" defTabSz="914400" rtl="0" eaLnBrk="1" latinLnBrk="0" hangingPunct="1">
        <a:lnSpc>
          <a:spcPts val="1650"/>
        </a:lnSpc>
        <a:spcBef>
          <a:spcPct val="0"/>
        </a:spcBef>
        <a:buFont typeface="Arial" panose="020B0604020202020204" pitchFamily="34" charset="0"/>
        <a:buNone/>
        <a:defRPr lang="en-US" sz="1550" b="0" i="0" kern="1200" spc="-30" baseline="0" dirty="0">
          <a:solidFill>
            <a:schemeClr val="bg1"/>
          </a:solidFill>
          <a:latin typeface="Montserrat" pitchFamily="2" charset="77"/>
          <a:ea typeface="+mj-ea"/>
          <a:cs typeface="+mj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705691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1" imgH="423" progId="TCLayout.ActiveDocument.1">
                  <p:embed/>
                </p:oleObj>
              </mc:Choice>
              <mc:Fallback>
                <p:oleObj name="think-cell Slide" r:id="rId7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FCA30367-2731-BFBA-DF36-E7AD827E53D4}"/>
              </a:ext>
            </a:extLst>
          </p:cNvPr>
          <p:cNvSpPr/>
          <p:nvPr userDrawn="1"/>
        </p:nvSpPr>
        <p:spPr>
          <a:xfrm rot="10800000" flipV="1">
            <a:off x="0" y="6457903"/>
            <a:ext cx="11367752" cy="423464"/>
          </a:xfrm>
          <a:prstGeom prst="rect">
            <a:avLst/>
          </a:prstGeom>
          <a:solidFill>
            <a:srgbClr val="0921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508000" y="6479544"/>
            <a:ext cx="9144001" cy="302256"/>
          </a:xfrm>
          <a:prstGeom prst="rect">
            <a:avLst/>
          </a:prstGeom>
        </p:spPr>
        <p:txBody>
          <a:bodyPr anchor="t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5D1D82-F9A0-4C85-8250-395B6917E960}" type="slidenum">
              <a:rPr lang="en-US" sz="1333" smtClean="0">
                <a:solidFill>
                  <a:schemeClr val="bg2"/>
                </a:solidFill>
                <a:latin typeface="Brown" pitchFamily="2" charset="77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dirty="0">
              <a:solidFill>
                <a:schemeClr val="bg2"/>
              </a:solidFill>
              <a:latin typeface="Brown" pitchFamily="2" charset="77"/>
            </a:endParaRPr>
          </a:p>
          <a:p>
            <a:pPr algn="l">
              <a:defRPr/>
            </a:pPr>
            <a:endParaRPr lang="en-US" sz="1867" dirty="0">
              <a:solidFill>
                <a:schemeClr val="bg2"/>
              </a:solidFill>
              <a:latin typeface="Brown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DF30220-9873-3375-D525-5576D94A5E2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4365" y="5623733"/>
            <a:ext cx="1257636" cy="125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337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5600">
          <a:solidFill>
            <a:schemeClr val="tx2"/>
          </a:solidFill>
          <a:latin typeface="Times New Roman" pitchFamily="18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Char char="n"/>
        <a:defRPr sz="3733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n"/>
        <a:defRPr sz="3467">
          <a:solidFill>
            <a:schemeClr val="tx1"/>
          </a:solidFill>
          <a:latin typeface="+mn-lt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5000"/>
        <a:buFont typeface="Wingdings" pitchFamily="2" charset="2"/>
        <a:buChar char="n"/>
        <a:defRPr sz="3067">
          <a:solidFill>
            <a:schemeClr val="tx1"/>
          </a:solidFill>
          <a:latin typeface="+mn-lt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6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26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phic 36">
            <a:extLst>
              <a:ext uri="{FF2B5EF4-FFF2-40B4-BE49-F238E27FC236}">
                <a16:creationId xmlns:a16="http://schemas.microsoft.com/office/drawing/2014/main" id="{2CC2F24E-468A-4212-A014-115B799B0109}"/>
              </a:ext>
            </a:extLst>
          </p:cNvPr>
          <p:cNvPicPr>
            <a:picLocks noChangeAspect="1"/>
          </p:cNvPicPr>
          <p:nvPr userDrawn="1">
            <p:custDataLst>
              <p:tags r:id="rId27"/>
            </p:custDataLst>
          </p:nvPr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629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4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3840">
          <p15:clr>
            <a:srgbClr val="F26B43"/>
          </p15:clr>
        </p15:guide>
        <p15:guide id="37" pos="3782">
          <p15:clr>
            <a:srgbClr val="F26B43"/>
          </p15:clr>
        </p15:guide>
        <p15:guide id="38" pos="3900">
          <p15:clr>
            <a:srgbClr val="F26B43"/>
          </p15:clr>
        </p15:guide>
        <p15:guide id="39" orient="horz" pos="38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6.jpeg"/><Relationship Id="rId18" Type="http://schemas.openxmlformats.org/officeDocument/2006/relationships/image" Target="../media/image41.jpeg"/><Relationship Id="rId26" Type="http://schemas.openxmlformats.org/officeDocument/2006/relationships/image" Target="../media/image49.jpeg"/><Relationship Id="rId39" Type="http://schemas.openxmlformats.org/officeDocument/2006/relationships/image" Target="../media/image62.tiff"/><Relationship Id="rId21" Type="http://schemas.openxmlformats.org/officeDocument/2006/relationships/image" Target="../media/image44.png"/><Relationship Id="rId34" Type="http://schemas.openxmlformats.org/officeDocument/2006/relationships/image" Target="../media/image57.jpeg"/><Relationship Id="rId42" Type="http://schemas.openxmlformats.org/officeDocument/2006/relationships/image" Target="../media/image65.png"/><Relationship Id="rId7" Type="http://schemas.openxmlformats.org/officeDocument/2006/relationships/image" Target="../media/image30.tiff"/><Relationship Id="rId2" Type="http://schemas.openxmlformats.org/officeDocument/2006/relationships/image" Target="../media/image25.png"/><Relationship Id="rId16" Type="http://schemas.openxmlformats.org/officeDocument/2006/relationships/image" Target="../media/image39.gif"/><Relationship Id="rId20" Type="http://schemas.openxmlformats.org/officeDocument/2006/relationships/image" Target="../media/image43.jpeg"/><Relationship Id="rId29" Type="http://schemas.openxmlformats.org/officeDocument/2006/relationships/image" Target="../media/image52.png"/><Relationship Id="rId41" Type="http://schemas.openxmlformats.org/officeDocument/2006/relationships/image" Target="../media/image64.tiff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9.tiff"/><Relationship Id="rId11" Type="http://schemas.openxmlformats.org/officeDocument/2006/relationships/image" Target="../media/image34.png"/><Relationship Id="rId24" Type="http://schemas.openxmlformats.org/officeDocument/2006/relationships/image" Target="../media/image47.png"/><Relationship Id="rId32" Type="http://schemas.openxmlformats.org/officeDocument/2006/relationships/image" Target="../media/image55.jpeg"/><Relationship Id="rId37" Type="http://schemas.openxmlformats.org/officeDocument/2006/relationships/image" Target="../media/image60.png"/><Relationship Id="rId40" Type="http://schemas.openxmlformats.org/officeDocument/2006/relationships/image" Target="../media/image63.tiff"/><Relationship Id="rId5" Type="http://schemas.openxmlformats.org/officeDocument/2006/relationships/image" Target="../media/image28.tiff"/><Relationship Id="rId15" Type="http://schemas.openxmlformats.org/officeDocument/2006/relationships/image" Target="../media/image38.png"/><Relationship Id="rId23" Type="http://schemas.openxmlformats.org/officeDocument/2006/relationships/image" Target="../media/image46.png"/><Relationship Id="rId28" Type="http://schemas.openxmlformats.org/officeDocument/2006/relationships/image" Target="../media/image51.png"/><Relationship Id="rId36" Type="http://schemas.openxmlformats.org/officeDocument/2006/relationships/image" Target="../media/image59.png"/><Relationship Id="rId10" Type="http://schemas.openxmlformats.org/officeDocument/2006/relationships/image" Target="../media/image33.tif"/><Relationship Id="rId19" Type="http://schemas.openxmlformats.org/officeDocument/2006/relationships/image" Target="../media/image42.png"/><Relationship Id="rId31" Type="http://schemas.openxmlformats.org/officeDocument/2006/relationships/image" Target="../media/image54.jpeg"/><Relationship Id="rId4" Type="http://schemas.openxmlformats.org/officeDocument/2006/relationships/image" Target="../media/image27.tiff"/><Relationship Id="rId9" Type="http://schemas.openxmlformats.org/officeDocument/2006/relationships/image" Target="../media/image32.tiff"/><Relationship Id="rId14" Type="http://schemas.openxmlformats.org/officeDocument/2006/relationships/image" Target="../media/image37.jpeg"/><Relationship Id="rId22" Type="http://schemas.openxmlformats.org/officeDocument/2006/relationships/image" Target="../media/image45.tiff"/><Relationship Id="rId27" Type="http://schemas.openxmlformats.org/officeDocument/2006/relationships/image" Target="../media/image50.png"/><Relationship Id="rId30" Type="http://schemas.openxmlformats.org/officeDocument/2006/relationships/image" Target="../media/image53.png"/><Relationship Id="rId35" Type="http://schemas.openxmlformats.org/officeDocument/2006/relationships/image" Target="../media/image58.png"/><Relationship Id="rId43" Type="http://schemas.openxmlformats.org/officeDocument/2006/relationships/image" Target="../media/image66.png"/><Relationship Id="rId8" Type="http://schemas.openxmlformats.org/officeDocument/2006/relationships/image" Target="../media/image31.tiff"/><Relationship Id="rId3" Type="http://schemas.openxmlformats.org/officeDocument/2006/relationships/image" Target="../media/image26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5" Type="http://schemas.openxmlformats.org/officeDocument/2006/relationships/image" Target="../media/image48.jpeg"/><Relationship Id="rId33" Type="http://schemas.openxmlformats.org/officeDocument/2006/relationships/image" Target="../media/image56.jpeg"/><Relationship Id="rId38" Type="http://schemas.openxmlformats.org/officeDocument/2006/relationships/image" Target="../media/image61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2.png"/><Relationship Id="rId7" Type="http://schemas.openxmlformats.org/officeDocument/2006/relationships/image" Target="../media/image101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99.png"/><Relationship Id="rId7" Type="http://schemas.openxmlformats.org/officeDocument/2006/relationships/image" Target="../media/image106.png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jpeg"/><Relationship Id="rId10" Type="http://schemas.openxmlformats.org/officeDocument/2006/relationships/image" Target="../media/image109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hyperlink" Target="http://www.vuitton.com/en/index.jhtml;jsessionid=51IIMKC4PKDGKCV2AQECGWQ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2.xml"/><Relationship Id="rId4" Type="http://schemas.openxmlformats.org/officeDocument/2006/relationships/image" Target="../media/image7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2CBF6-26FB-7040-BCB3-26C21F5B41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947" y="3088919"/>
            <a:ext cx="10113840" cy="1334680"/>
          </a:xfrm>
        </p:spPr>
        <p:txBody>
          <a:bodyPr>
            <a:noAutofit/>
          </a:bodyPr>
          <a:lstStyle/>
          <a:p>
            <a:r>
              <a:rPr lang="en-US" sz="3200" b="1" dirty="0"/>
              <a:t>Why brands are more important than ever:</a:t>
            </a:r>
            <a:br>
              <a:rPr lang="en-US" sz="3200" dirty="0"/>
            </a:br>
            <a:r>
              <a:rPr lang="en-US" sz="2800" dirty="0"/>
              <a:t>Brand driven growth in the age of AI and disruption</a:t>
            </a:r>
            <a:endParaRPr lang="en-US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AD9397-1ABE-BD47-93ED-55AFA99B7D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948" y="5751714"/>
            <a:ext cx="7822020" cy="1030288"/>
          </a:xfrm>
        </p:spPr>
        <p:txBody>
          <a:bodyPr/>
          <a:lstStyle/>
          <a:p>
            <a:r>
              <a:rPr lang="en-US" dirty="0"/>
              <a:t>4 December 2025</a:t>
            </a:r>
          </a:p>
        </p:txBody>
      </p:sp>
    </p:spTree>
    <p:extLst>
      <p:ext uri="{BB962C8B-B14F-4D97-AF65-F5344CB8AC3E}">
        <p14:creationId xmlns:p14="http://schemas.microsoft.com/office/powerpoint/2010/main" val="3563948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9AD269-5C4A-699C-634D-CC1CC1E30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5E8D3-C68A-1D44-8051-1ABBA39FD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trong brand is a major component of shareholder valu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1847CBD-E656-7833-10E0-DACF520A94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399476-0DCF-CFEB-2571-31891F38139F}"/>
              </a:ext>
            </a:extLst>
          </p:cNvPr>
          <p:cNvSpPr txBox="1"/>
          <p:nvPr/>
        </p:nvSpPr>
        <p:spPr>
          <a:xfrm>
            <a:off x="4015820" y="2012691"/>
            <a:ext cx="4021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defRPr/>
            </a:pPr>
            <a:r>
              <a:rPr lang="en-US" sz="1400" b="1" dirty="0">
                <a:solidFill>
                  <a:srgbClr val="000000"/>
                </a:solidFill>
                <a:latin typeface="Montserrat" pitchFamily="2" charset="77"/>
              </a:rPr>
              <a:t>Brand is a major financial asset and should be treated like any financial asse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13E559FE-3448-E85C-C8EF-A592AA427C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9797663"/>
              </p:ext>
            </p:extLst>
          </p:nvPr>
        </p:nvGraphicFramePr>
        <p:xfrm>
          <a:off x="2124059" y="2695221"/>
          <a:ext cx="7805393" cy="3725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8B3F237-FFD7-1808-030F-E23F35456F45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Ocean Tomo, Kantar BrandZ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BF6D90-6F15-3655-CDA1-1CDF50257D63}"/>
              </a:ext>
            </a:extLst>
          </p:cNvPr>
          <p:cNvSpPr txBox="1"/>
          <p:nvPr/>
        </p:nvSpPr>
        <p:spPr>
          <a:xfrm>
            <a:off x="323352" y="920084"/>
            <a:ext cx="1142244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effectLst/>
                <a:latin typeface="Montserrat" pitchFamily="2" charset="77"/>
              </a:rPr>
              <a:t>Over 80% of stock market value is represented by intangible assets, not the tangible plant, property and equipment</a:t>
            </a:r>
            <a:endParaRPr lang="en-US" sz="1400" dirty="0">
              <a:solidFill>
                <a:srgbClr val="000000"/>
              </a:solidFill>
              <a:latin typeface="Montserrat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effectLst/>
                <a:latin typeface="Montserrat" pitchFamily="2" charset="77"/>
              </a:rPr>
              <a:t>Brand is one of the most important intangible assets, contributing around 1/3 of market cap.</a:t>
            </a:r>
          </a:p>
        </p:txBody>
      </p:sp>
    </p:spTree>
    <p:extLst>
      <p:ext uri="{BB962C8B-B14F-4D97-AF65-F5344CB8AC3E}">
        <p14:creationId xmlns:p14="http://schemas.microsoft.com/office/powerpoint/2010/main" val="1847227638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DC7A8F-6D35-C0B6-84A5-A043FB1D1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024A146-A278-DAF2-C991-7876040AA6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/>
          <a:lstStyle/>
          <a:p>
            <a:fld id="{058DAC43-1CF5-B041-9EC6-C41F5829B3D8}" type="slidenum">
              <a:rPr lang="en-US" smtClean="0"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AB0C29-F9B5-F462-E9F9-73A011526E74}"/>
              </a:ext>
            </a:extLst>
          </p:cNvPr>
          <p:cNvSpPr txBox="1"/>
          <p:nvPr/>
        </p:nvSpPr>
        <p:spPr>
          <a:xfrm>
            <a:off x="1283855" y="2792789"/>
            <a:ext cx="9779495" cy="12724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MANY PEOPLE THINK</a:t>
            </a:r>
            <a:b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</a:br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BRANDS DON’T MATTER ANYMORE</a:t>
            </a:r>
          </a:p>
        </p:txBody>
      </p:sp>
    </p:spTree>
    <p:extLst>
      <p:ext uri="{BB962C8B-B14F-4D97-AF65-F5344CB8AC3E}">
        <p14:creationId xmlns:p14="http://schemas.microsoft.com/office/powerpoint/2010/main" val="2790337976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CA3DF1-A10F-0026-3B91-9C69A3342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6EE5D-2D39-2C8D-B220-EF1762707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has been undermining the role of brand for a long tim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70F30CB-9BC5-AB3B-FC7D-8BFE4761B0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Text Box 22">
            <a:extLst>
              <a:ext uri="{FF2B5EF4-FFF2-40B4-BE49-F238E27FC236}">
                <a16:creationId xmlns:a16="http://schemas.microsoft.com/office/drawing/2014/main" id="{CCE6D6C5-605C-78B9-2723-C99BE574BE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6287" y="6531036"/>
            <a:ext cx="3066813" cy="230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>
                <a:solidFill>
                  <a:schemeClr val="bg1"/>
                </a:solidFill>
                <a:latin typeface="Montserrat" pitchFamily="2" charset="77"/>
              </a:rPr>
              <a:t>Source: </a:t>
            </a:r>
            <a:r>
              <a:rPr lang="en-US" altLang="en-US" sz="900" i="1" dirty="0">
                <a:solidFill>
                  <a:schemeClr val="bg1"/>
                </a:solidFill>
                <a:latin typeface="Montserrat" pitchFamily="2" charset="77"/>
              </a:rPr>
              <a:t>2025 MMA Global / Adobe Survey, Gart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DE0B2D-5CD1-D791-1AE3-E2B1943F2459}"/>
              </a:ext>
            </a:extLst>
          </p:cNvPr>
          <p:cNvSpPr txBox="1"/>
          <p:nvPr/>
        </p:nvSpPr>
        <p:spPr>
          <a:xfrm>
            <a:off x="5877819" y="876259"/>
            <a:ext cx="4302139" cy="3310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latin typeface="Montserrat" pitchFamily="2" charset="77"/>
              </a:rPr>
              <a:t>Percent of total marketing budget (2025)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2134C36-5219-86B3-BEE5-D7EF02711A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2055756"/>
              </p:ext>
            </p:extLst>
          </p:nvPr>
        </p:nvGraphicFramePr>
        <p:xfrm>
          <a:off x="3985589" y="1041807"/>
          <a:ext cx="8086597" cy="5391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F4C5A9F-0A81-9EDF-5582-7F2E2561A22D}"/>
              </a:ext>
            </a:extLst>
          </p:cNvPr>
          <p:cNvSpPr txBox="1"/>
          <p:nvPr/>
        </p:nvSpPr>
        <p:spPr>
          <a:xfrm>
            <a:off x="3985589" y="2924524"/>
            <a:ext cx="1399369" cy="4334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Montserrat" pitchFamily="2" charset="77"/>
              </a:rPr>
              <a:t>Brand market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A76BB7-AD33-7997-CD9B-9CB5CF9B3B5F}"/>
              </a:ext>
            </a:extLst>
          </p:cNvPr>
          <p:cNvSpPr txBox="1"/>
          <p:nvPr/>
        </p:nvSpPr>
        <p:spPr>
          <a:xfrm>
            <a:off x="10464588" y="4640685"/>
            <a:ext cx="1727412" cy="4334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Montserrat" pitchFamily="2" charset="77"/>
              </a:rPr>
              <a:t>Performance market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3CA3779-C06A-EB21-4B60-1E8FFB264097}"/>
              </a:ext>
            </a:extLst>
          </p:cNvPr>
          <p:cNvSpPr txBox="1">
            <a:spLocks/>
          </p:cNvSpPr>
          <p:nvPr/>
        </p:nvSpPr>
        <p:spPr>
          <a:xfrm>
            <a:off x="268082" y="1384509"/>
            <a:ext cx="3862646" cy="44511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0" i="0" kern="1200" spc="-3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It’s all about performance marketing—you can measure results immediately in bits and clicks</a:t>
            </a:r>
          </a:p>
        </p:txBody>
      </p:sp>
    </p:spTree>
    <p:extLst>
      <p:ext uri="{BB962C8B-B14F-4D97-AF65-F5344CB8AC3E}">
        <p14:creationId xmlns:p14="http://schemas.microsoft.com/office/powerpoint/2010/main" val="4225864275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94CE4C-2CDE-A76B-5D5A-C7A2BA06D5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CB08F7C-1DB9-1E96-8117-DEE858B1BC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58DAC43-1CF5-B041-9EC6-C41F5829B3D8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 dirty="0"/>
          </a:p>
        </p:txBody>
      </p:sp>
      <p:pic>
        <p:nvPicPr>
          <p:cNvPr id="15362" name="Picture 2" descr="AI is going to ruin humanity – just not in the way you might expect |  TechRadar">
            <a:extLst>
              <a:ext uri="{FF2B5EF4-FFF2-40B4-BE49-F238E27FC236}">
                <a16:creationId xmlns:a16="http://schemas.microsoft.com/office/drawing/2014/main" id="{6DACA229-742B-4847-006D-5F6D8D9CD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945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ACD2D5-EB9A-DC98-FEE5-E3FDBD50F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352" y="0"/>
            <a:ext cx="11543362" cy="839605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I is said to be finishing brands of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CE4F8E-37AF-8159-DB58-272874C5E6FA}"/>
              </a:ext>
            </a:extLst>
          </p:cNvPr>
          <p:cNvSpPr txBox="1"/>
          <p:nvPr/>
        </p:nvSpPr>
        <p:spPr>
          <a:xfrm>
            <a:off x="6286830" y="942120"/>
            <a:ext cx="3751692" cy="7574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7800" indent="-1778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ontserrat" pitchFamily="2" charset="77"/>
              </a:rPr>
              <a:t>Everyone can do everything</a:t>
            </a:r>
          </a:p>
          <a:p>
            <a:pPr marL="177800" indent="-1778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ontserrat" pitchFamily="2" charset="77"/>
              </a:rPr>
              <a:t>There’s a multiplication of brands</a:t>
            </a:r>
          </a:p>
          <a:p>
            <a:pPr marL="177800" indent="-1778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ontserrat" pitchFamily="2" charset="77"/>
              </a:rPr>
              <a:t>Anyone can create a product</a:t>
            </a: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Montserrat" pitchFamily="2" charset="77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19036292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A3A3B-9B27-12AD-511C-4A74378C0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DAD260-D9F1-0DC5-D1BB-BF4FFF34F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looks alik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8D26F7-4C19-22BA-4239-BDD427B5E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CD50B4-3C0C-DE71-BD35-DB3B56FBC461}"/>
              </a:ext>
            </a:extLst>
          </p:cNvPr>
          <p:cNvSpPr txBox="1"/>
          <p:nvPr/>
        </p:nvSpPr>
        <p:spPr>
          <a:xfrm>
            <a:off x="-5585" y="946835"/>
            <a:ext cx="2294889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8125" indent="-19843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Montserrat" pitchFamily="2" charset="77"/>
              </a:rPr>
              <a:t>Everyone can find out what makes the best experience</a:t>
            </a:r>
          </a:p>
          <a:p>
            <a:pPr marL="238125" indent="-198438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Montserrat" pitchFamily="2" charset="77"/>
              </a:rPr>
              <a:t>So, everything looks alike</a:t>
            </a:r>
          </a:p>
          <a:p>
            <a:pPr marL="238125" indent="-198438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Montserrat" pitchFamily="2" charset="77"/>
              </a:rPr>
              <a:t>It doesn’t matter which you bu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538C64-A131-A728-AC60-1F03A415DD1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9304" y="839604"/>
            <a:ext cx="9902696" cy="5551363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9C96E5E-7695-3E9E-CC31-EB38BABADE78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Kantar</a:t>
            </a:r>
          </a:p>
        </p:txBody>
      </p:sp>
    </p:spTree>
    <p:extLst>
      <p:ext uri="{BB962C8B-B14F-4D97-AF65-F5344CB8AC3E}">
        <p14:creationId xmlns:p14="http://schemas.microsoft.com/office/powerpoint/2010/main" val="1682952057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EF6E4-83DE-979A-4447-1A9CED1AD4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9BBB6-3A59-D34A-42FB-E770519DB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pping is increasingly informed by AI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4CF37B1-C2EB-1F15-4CA5-5A3ECA5C12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5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D8D03B-2492-264C-3ACA-0F230C860F4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29" t="7455" r="20161" b="23154"/>
          <a:stretch>
            <a:fillRect/>
          </a:stretch>
        </p:blipFill>
        <p:spPr>
          <a:xfrm>
            <a:off x="609602" y="2288434"/>
            <a:ext cx="3941760" cy="351994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CFA1A5-0C1C-BAE4-C55E-CA5664B19A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06" t="7168" r="12338" b="22580"/>
          <a:stretch>
            <a:fillRect/>
          </a:stretch>
        </p:blipFill>
        <p:spPr>
          <a:xfrm>
            <a:off x="6597258" y="2288434"/>
            <a:ext cx="5064418" cy="35199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2FF7E2-0E64-2ABB-77E1-050FA259D43D}"/>
              </a:ext>
            </a:extLst>
          </p:cNvPr>
          <p:cNvSpPr txBox="1"/>
          <p:nvPr/>
        </p:nvSpPr>
        <p:spPr>
          <a:xfrm>
            <a:off x="1134991" y="1463870"/>
            <a:ext cx="2890982" cy="5885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Montserrat" pitchFamily="2" charset="77"/>
              </a:rPr>
              <a:t>Human</a:t>
            </a:r>
            <a:br>
              <a:rPr lang="en-US" b="1" dirty="0">
                <a:latin typeface="Montserrat" pitchFamily="2" charset="77"/>
              </a:rPr>
            </a:br>
            <a:r>
              <a:rPr lang="en-US" sz="1600" dirty="0">
                <a:latin typeface="Montserrat" pitchFamily="2" charset="77"/>
              </a:rPr>
              <a:t>People Do I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F7D001-3B8F-BC7E-330A-4F04D72B720D}"/>
              </a:ext>
            </a:extLst>
          </p:cNvPr>
          <p:cNvSpPr txBox="1"/>
          <p:nvPr/>
        </p:nvSpPr>
        <p:spPr>
          <a:xfrm>
            <a:off x="7545623" y="1463870"/>
            <a:ext cx="2890982" cy="5885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Montserrat" pitchFamily="2" charset="77"/>
              </a:rPr>
              <a:t>Human+</a:t>
            </a:r>
            <a:br>
              <a:rPr lang="en-US" b="1" dirty="0">
                <a:latin typeface="Montserrat" pitchFamily="2" charset="77"/>
              </a:rPr>
            </a:br>
            <a:r>
              <a:rPr lang="en-US" sz="1600" dirty="0">
                <a:latin typeface="Montserrat" pitchFamily="2" charset="77"/>
              </a:rPr>
              <a:t>AI Does It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01A3107D-3D4C-E491-5F0E-DC60C98A10EA}"/>
              </a:ext>
            </a:extLst>
          </p:cNvPr>
          <p:cNvSpPr/>
          <p:nvPr/>
        </p:nvSpPr>
        <p:spPr>
          <a:xfrm>
            <a:off x="5329084" y="3723943"/>
            <a:ext cx="973393" cy="648929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A47429-ABD4-BA4C-452B-6508B5B8C0A9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Kanta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2D7D75-DE07-FF8F-E142-E5556C20601E}"/>
              </a:ext>
            </a:extLst>
          </p:cNvPr>
          <p:cNvSpPr txBox="1"/>
          <p:nvPr/>
        </p:nvSpPr>
        <p:spPr>
          <a:xfrm>
            <a:off x="323352" y="920084"/>
            <a:ext cx="114224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effectLst/>
                <a:latin typeface="Montserrat" pitchFamily="2" charset="77"/>
              </a:rPr>
              <a:t>People aren’t making decisions on their own, they get help from AI shopping apps and ads</a:t>
            </a:r>
          </a:p>
        </p:txBody>
      </p:sp>
    </p:spTree>
    <p:extLst>
      <p:ext uri="{BB962C8B-B14F-4D97-AF65-F5344CB8AC3E}">
        <p14:creationId xmlns:p14="http://schemas.microsoft.com/office/powerpoint/2010/main" val="523046850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057C7-1BDC-5EF8-7661-A8369906C2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1CDB7-CA06-0B43-277C-A59C95FEB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rs are going to be completely disintermediated from brand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AF7E361-9F22-53A1-4CB8-2C4EEF82D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6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049287-3B68-E876-EF9C-87F476137E6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83" r="9260"/>
          <a:stretch>
            <a:fillRect/>
          </a:stretch>
        </p:blipFill>
        <p:spPr>
          <a:xfrm>
            <a:off x="527136" y="1740310"/>
            <a:ext cx="3455221" cy="4225072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20FA2C-E9D8-2131-A11C-221346FA6B3E}"/>
              </a:ext>
            </a:extLst>
          </p:cNvPr>
          <p:cNvSpPr txBox="1"/>
          <p:nvPr/>
        </p:nvSpPr>
        <p:spPr>
          <a:xfrm>
            <a:off x="787055" y="1266244"/>
            <a:ext cx="2890982" cy="3265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Montserrat" pitchFamily="2" charset="77"/>
              </a:rPr>
              <a:t>Tomorrow’s customer</a:t>
            </a:r>
            <a:endParaRPr lang="en-US" sz="1600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9FA01A-5322-289C-BB7E-75AD90D92DD6}"/>
              </a:ext>
            </a:extLst>
          </p:cNvPr>
          <p:cNvSpPr txBox="1"/>
          <p:nvPr/>
        </p:nvSpPr>
        <p:spPr>
          <a:xfrm>
            <a:off x="6857363" y="1260177"/>
            <a:ext cx="3564830" cy="3265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Montserrat" pitchFamily="2" charset="77"/>
              </a:rPr>
              <a:t>Advertising to algorithms</a:t>
            </a:r>
            <a:endParaRPr lang="en-US" sz="1600" dirty="0">
              <a:latin typeface="Montserrat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F2DA0B-A9E1-3795-B1FD-0481CC64169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8706" y="1740310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28E800-3E16-5149-D1DF-41F4117C2AB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4495" y="3275153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D5B673-3136-C3FC-F50B-D02CBD42762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8706" y="3275153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7E7325-C589-A179-E35F-F340337095A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4495" y="1740310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844C464-96AD-5B90-D861-2F3E4B7CDD0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4495" y="4809995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6E6A58F-DFC9-F9D3-14CB-50690C6192D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8706" y="4809995"/>
            <a:ext cx="2107878" cy="131742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D66DF45-A6BD-0E8A-10E8-032E0CBCD6CC}"/>
              </a:ext>
            </a:extLst>
          </p:cNvPr>
          <p:cNvSpPr txBox="1"/>
          <p:nvPr/>
        </p:nvSpPr>
        <p:spPr>
          <a:xfrm>
            <a:off x="4782726" y="1943058"/>
            <a:ext cx="1228065" cy="8396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Thanks for calling Leonardo Hotel. How can I help you today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6079F18-719C-B246-DDDA-65BEC28B544C}"/>
              </a:ext>
            </a:extLst>
          </p:cNvPr>
          <p:cNvSpPr/>
          <p:nvPr/>
        </p:nvSpPr>
        <p:spPr>
          <a:xfrm>
            <a:off x="5254852" y="1745652"/>
            <a:ext cx="207818" cy="20781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6A9E5F-995A-8E42-0AB5-F7E353FB17DE}"/>
              </a:ext>
            </a:extLst>
          </p:cNvPr>
          <p:cNvSpPr txBox="1"/>
          <p:nvPr/>
        </p:nvSpPr>
        <p:spPr>
          <a:xfrm>
            <a:off x="8544768" y="1943058"/>
            <a:ext cx="1319727" cy="6919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Hi there. I’m an AI agent calling on behalf of Boris Starkov.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C7E99D2-99D1-B05D-1C5E-289331F8BDFE}"/>
              </a:ext>
            </a:extLst>
          </p:cNvPr>
          <p:cNvSpPr/>
          <p:nvPr/>
        </p:nvSpPr>
        <p:spPr>
          <a:xfrm>
            <a:off x="9108556" y="1745652"/>
            <a:ext cx="207818" cy="20781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DD2653-0F6E-E200-F2B4-7577E066F519}"/>
              </a:ext>
            </a:extLst>
          </p:cNvPr>
          <p:cNvSpPr txBox="1"/>
          <p:nvPr/>
        </p:nvSpPr>
        <p:spPr>
          <a:xfrm>
            <a:off x="4782726" y="3480695"/>
            <a:ext cx="1228065" cy="5476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Oh, hello there! I’m actually an AI assistant too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A1F710B-031F-E2A0-D61C-46701FF30FA3}"/>
              </a:ext>
            </a:extLst>
          </p:cNvPr>
          <p:cNvSpPr/>
          <p:nvPr/>
        </p:nvSpPr>
        <p:spPr>
          <a:xfrm>
            <a:off x="5254852" y="3283289"/>
            <a:ext cx="207818" cy="20781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C04912-B8BD-C5CA-119C-08B1DE682471}"/>
              </a:ext>
            </a:extLst>
          </p:cNvPr>
          <p:cNvSpPr txBox="1"/>
          <p:nvPr/>
        </p:nvSpPr>
        <p:spPr>
          <a:xfrm>
            <a:off x="8544768" y="3444544"/>
            <a:ext cx="1319727" cy="8724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Before we continue, would you like to switch to GibberLink mode?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944ADD5-3E71-7827-45E3-1864DCBE1FBD}"/>
              </a:ext>
            </a:extLst>
          </p:cNvPr>
          <p:cNvSpPr/>
          <p:nvPr/>
        </p:nvSpPr>
        <p:spPr>
          <a:xfrm>
            <a:off x="9108556" y="3247138"/>
            <a:ext cx="207818" cy="20781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B2FC10-33FC-5A50-D705-14343DCE7835}"/>
              </a:ext>
            </a:extLst>
          </p:cNvPr>
          <p:cNvSpPr txBox="1"/>
          <p:nvPr/>
        </p:nvSpPr>
        <p:spPr>
          <a:xfrm>
            <a:off x="4782726" y="5008095"/>
            <a:ext cx="1228065" cy="5476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Great. Much Faster! Guest count?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3DD8920-949A-EB6C-02BC-4743F8D94D5E}"/>
              </a:ext>
            </a:extLst>
          </p:cNvPr>
          <p:cNvSpPr/>
          <p:nvPr/>
        </p:nvSpPr>
        <p:spPr>
          <a:xfrm>
            <a:off x="5254852" y="4810689"/>
            <a:ext cx="207818" cy="20781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841B89-6A48-33FC-514F-08931C1DF072}"/>
              </a:ext>
            </a:extLst>
          </p:cNvPr>
          <p:cNvSpPr txBox="1"/>
          <p:nvPr/>
        </p:nvSpPr>
        <p:spPr>
          <a:xfrm>
            <a:off x="8544768" y="4942417"/>
            <a:ext cx="1319727" cy="6919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Catering? Decoration? Room blocks?</a:t>
            </a:r>
          </a:p>
          <a:p>
            <a:pPr algn="l"/>
            <a:r>
              <a:rPr lang="en-US" sz="1000" dirty="0">
                <a:latin typeface="Montserrat" pitchFamily="2" charset="77"/>
              </a:rPr>
              <a:t>What’s needed?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AF91669-7F79-0A4D-4CD8-3D0068C81333}"/>
              </a:ext>
            </a:extLst>
          </p:cNvPr>
          <p:cNvSpPr/>
          <p:nvPr/>
        </p:nvSpPr>
        <p:spPr>
          <a:xfrm>
            <a:off x="9108556" y="4745011"/>
            <a:ext cx="207818" cy="20781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7D96FAA-7E0B-5F50-9DB2-00711E0D931E}"/>
              </a:ext>
            </a:extLst>
          </p:cNvPr>
          <p:cNvSpPr/>
          <p:nvPr/>
        </p:nvSpPr>
        <p:spPr>
          <a:xfrm>
            <a:off x="5254852" y="5564223"/>
            <a:ext cx="207818" cy="20781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E3243F6-BC74-6467-5D3F-E8DCF12574E2}"/>
              </a:ext>
            </a:extLst>
          </p:cNvPr>
          <p:cNvSpPr txBox="1"/>
          <p:nvPr/>
        </p:nvSpPr>
        <p:spPr>
          <a:xfrm>
            <a:off x="4782726" y="5773194"/>
            <a:ext cx="1228065" cy="2370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25 adults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171AEB-D3AC-ED29-BD9F-0E9A56318EFA}"/>
              </a:ext>
            </a:extLst>
          </p:cNvPr>
          <p:cNvSpPr/>
          <p:nvPr/>
        </p:nvSpPr>
        <p:spPr>
          <a:xfrm>
            <a:off x="9108556" y="5635655"/>
            <a:ext cx="207818" cy="20781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3FF4D55-EFE6-8641-9878-D0E55EF295D1}"/>
              </a:ext>
            </a:extLst>
          </p:cNvPr>
          <p:cNvSpPr txBox="1"/>
          <p:nvPr/>
        </p:nvSpPr>
        <p:spPr>
          <a:xfrm>
            <a:off x="8544768" y="5850249"/>
            <a:ext cx="1319727" cy="4623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>
                <a:latin typeface="Montserrat" pitchFamily="2" charset="77"/>
              </a:rPr>
              <a:t>All of the above. What are your rates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760D22F-5AE7-3692-7E77-A00F88370083}"/>
              </a:ext>
            </a:extLst>
          </p:cNvPr>
          <p:cNvSpPr txBox="1"/>
          <p:nvPr/>
        </p:nvSpPr>
        <p:spPr>
          <a:xfrm>
            <a:off x="7916754" y="1787512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53D7C28-458A-D000-2337-05E89A694998}"/>
              </a:ext>
            </a:extLst>
          </p:cNvPr>
          <p:cNvSpPr txBox="1"/>
          <p:nvPr/>
        </p:nvSpPr>
        <p:spPr>
          <a:xfrm>
            <a:off x="11731670" y="1787512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FF8E0A3-5CCF-534C-1EB0-CD67C7B76B33}"/>
              </a:ext>
            </a:extLst>
          </p:cNvPr>
          <p:cNvSpPr txBox="1"/>
          <p:nvPr/>
        </p:nvSpPr>
        <p:spPr>
          <a:xfrm>
            <a:off x="11731670" y="3341009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9C9315-E0F5-D7FA-D410-6D23E9F890AE}"/>
              </a:ext>
            </a:extLst>
          </p:cNvPr>
          <p:cNvSpPr txBox="1"/>
          <p:nvPr/>
        </p:nvSpPr>
        <p:spPr>
          <a:xfrm>
            <a:off x="11731670" y="4855176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6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9BD33BB-025D-59B7-1822-908D1EB7EF4E}"/>
              </a:ext>
            </a:extLst>
          </p:cNvPr>
          <p:cNvSpPr txBox="1"/>
          <p:nvPr/>
        </p:nvSpPr>
        <p:spPr>
          <a:xfrm>
            <a:off x="7916754" y="3331176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161B09C-04DC-E25F-3EF1-6A5F6724FD12}"/>
              </a:ext>
            </a:extLst>
          </p:cNvPr>
          <p:cNvSpPr txBox="1"/>
          <p:nvPr/>
        </p:nvSpPr>
        <p:spPr>
          <a:xfrm>
            <a:off x="7916754" y="4865009"/>
            <a:ext cx="237745" cy="3110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77"/>
              </a:rPr>
              <a:t>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C56B3B5-B776-D993-056A-53E6DA6A7A53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Kanta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5E87E82-4A87-6E26-ED55-B3AC7C50B171}"/>
              </a:ext>
            </a:extLst>
          </p:cNvPr>
          <p:cNvSpPr txBox="1"/>
          <p:nvPr/>
        </p:nvSpPr>
        <p:spPr>
          <a:xfrm>
            <a:off x="323352" y="920084"/>
            <a:ext cx="114224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Montserrat" pitchFamily="2" charset="77"/>
              </a:rPr>
              <a:t>The future is about transactions between AI agents, with no humans involved</a:t>
            </a:r>
            <a:endParaRPr lang="en-US" sz="1400" dirty="0">
              <a:solidFill>
                <a:srgbClr val="000000"/>
              </a:solidFill>
              <a:effectLst/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04139844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0BE28E-5070-757A-D4B3-CCBA7A8B2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03C7D6-144F-62CB-99DB-768C41A9A7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/>
          <a:lstStyle/>
          <a:p>
            <a:fld id="{058DAC43-1CF5-B041-9EC6-C41F5829B3D8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2F3C58-C079-522E-2220-317027C7710D}"/>
              </a:ext>
            </a:extLst>
          </p:cNvPr>
          <p:cNvSpPr txBox="1"/>
          <p:nvPr/>
        </p:nvSpPr>
        <p:spPr>
          <a:xfrm>
            <a:off x="236534" y="2787213"/>
            <a:ext cx="11718932" cy="12835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BRANDS NOW MATTER</a:t>
            </a:r>
            <a:b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</a:br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MORE THAN EVER</a:t>
            </a:r>
          </a:p>
        </p:txBody>
      </p:sp>
    </p:spTree>
    <p:extLst>
      <p:ext uri="{BB962C8B-B14F-4D97-AF65-F5344CB8AC3E}">
        <p14:creationId xmlns:p14="http://schemas.microsoft.com/office/powerpoint/2010/main" val="1724944091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8" name="Picture 10">
            <a:extLst>
              <a:ext uri="{FF2B5EF4-FFF2-40B4-BE49-F238E27FC236}">
                <a16:creationId xmlns:a16="http://schemas.microsoft.com/office/drawing/2014/main" id="{9545ED71-473C-B9F0-FE9E-551235B23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4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8007F8-6133-16F2-4118-58759DC8E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3064" y="2132707"/>
            <a:ext cx="6506211" cy="2376948"/>
          </a:xfrm>
          <a:solidFill>
            <a:srgbClr val="FEFFFE"/>
          </a:solidFill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With AI,  almost anyone can create a brand</a:t>
            </a:r>
            <a:br>
              <a:rPr lang="en-US" b="1" dirty="0">
                <a:solidFill>
                  <a:schemeClr val="tx1"/>
                </a:solidFill>
              </a:rPr>
            </a:b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It’s become much more difficult to stand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65A4D6-0FF5-76A8-85A1-9300C60BA3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663161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B8B77-E593-857B-4087-8F838EDB36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Arrow 11">
            <a:extLst>
              <a:ext uri="{FF2B5EF4-FFF2-40B4-BE49-F238E27FC236}">
                <a16:creationId xmlns:a16="http://schemas.microsoft.com/office/drawing/2014/main" id="{406FB107-6B59-1A3F-5A41-7D666856CCCD}"/>
              </a:ext>
            </a:extLst>
          </p:cNvPr>
          <p:cNvSpPr/>
          <p:nvPr/>
        </p:nvSpPr>
        <p:spPr>
          <a:xfrm rot="2081201">
            <a:off x="7083815" y="5072401"/>
            <a:ext cx="1180173" cy="872789"/>
          </a:xfrm>
          <a:prstGeom prst="rightArrow">
            <a:avLst>
              <a:gd name="adj1" fmla="val 66740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955065FE-8A97-EA57-372F-5D8A7B70F89F}"/>
              </a:ext>
            </a:extLst>
          </p:cNvPr>
          <p:cNvSpPr/>
          <p:nvPr/>
        </p:nvSpPr>
        <p:spPr>
          <a:xfrm rot="19876696">
            <a:off x="7247640" y="2702900"/>
            <a:ext cx="1142087" cy="844623"/>
          </a:xfrm>
          <a:prstGeom prst="rightArrow">
            <a:avLst>
              <a:gd name="adj1" fmla="val 66740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1B43A69C-C5ED-C8C4-39D2-3E917370A818}"/>
              </a:ext>
            </a:extLst>
          </p:cNvPr>
          <p:cNvSpPr/>
          <p:nvPr/>
        </p:nvSpPr>
        <p:spPr>
          <a:xfrm rot="1702575" flipH="1">
            <a:off x="3260276" y="2722636"/>
            <a:ext cx="1142087" cy="844623"/>
          </a:xfrm>
          <a:prstGeom prst="rightArrow">
            <a:avLst>
              <a:gd name="adj1" fmla="val 66740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30786CED-F1F1-4A54-CAE6-7D5843F9A455}"/>
              </a:ext>
            </a:extLst>
          </p:cNvPr>
          <p:cNvSpPr/>
          <p:nvPr/>
        </p:nvSpPr>
        <p:spPr>
          <a:xfrm rot="19446297" flipH="1">
            <a:off x="3425815" y="5104217"/>
            <a:ext cx="1142087" cy="844623"/>
          </a:xfrm>
          <a:prstGeom prst="rightArrow">
            <a:avLst>
              <a:gd name="adj1" fmla="val 66740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2C5FD0A5-0370-C226-AA6B-6D17A7AED8ED}"/>
              </a:ext>
            </a:extLst>
          </p:cNvPr>
          <p:cNvSpPr/>
          <p:nvPr/>
        </p:nvSpPr>
        <p:spPr>
          <a:xfrm rot="5400000" flipH="1">
            <a:off x="5253985" y="1505333"/>
            <a:ext cx="1142087" cy="844623"/>
          </a:xfrm>
          <a:prstGeom prst="rightArrow">
            <a:avLst>
              <a:gd name="adj1" fmla="val 66740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B88392-482D-7C53-FC13-5303F029B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g Tech brands are so strong, they are killing off potential competit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E0B1BC2-63CF-097D-526D-97E09DBC0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19</a:t>
            </a:fld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48A24C1-A748-0A5E-BC49-5DBA4CA28B3B}"/>
              </a:ext>
            </a:extLst>
          </p:cNvPr>
          <p:cNvSpPr/>
          <p:nvPr/>
        </p:nvSpPr>
        <p:spPr>
          <a:xfrm>
            <a:off x="4114640" y="2479024"/>
            <a:ext cx="3420778" cy="342077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74" name="Picture 2" descr="Google - Wikipedia">
            <a:extLst>
              <a:ext uri="{FF2B5EF4-FFF2-40B4-BE49-F238E27FC236}">
                <a16:creationId xmlns:a16="http://schemas.microsoft.com/office/drawing/2014/main" id="{6C3D2322-5217-EE7B-645E-0B7163840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84" y="2756310"/>
            <a:ext cx="1507685" cy="510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mazon pulls plan for NYC site after opposition | WXXI News">
            <a:extLst>
              <a:ext uri="{FF2B5EF4-FFF2-40B4-BE49-F238E27FC236}">
                <a16:creationId xmlns:a16="http://schemas.microsoft.com/office/drawing/2014/main" id="{BA210618-B695-5BBC-A19B-964E2476B4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8286" y="3345157"/>
            <a:ext cx="1823524" cy="76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284D4F4-F746-5755-6343-44BAFAD6AA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7401" y="4129168"/>
            <a:ext cx="727040" cy="893170"/>
          </a:xfrm>
          <a:prstGeom prst="rect">
            <a:avLst/>
          </a:prstGeom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F9D7C187-CD7B-B2F4-0477-55D7C2B0E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441" y="4988226"/>
            <a:ext cx="1485070" cy="83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Microsoft">
            <a:extLst>
              <a:ext uri="{FF2B5EF4-FFF2-40B4-BE49-F238E27FC236}">
                <a16:creationId xmlns:a16="http://schemas.microsoft.com/office/drawing/2014/main" id="{12B46820-DCBB-17B4-7C8A-1F03512103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9" t="29631" r="11720" b="32262"/>
          <a:stretch>
            <a:fillRect/>
          </a:stretch>
        </p:blipFill>
        <p:spPr bwMode="auto">
          <a:xfrm>
            <a:off x="5620891" y="4063554"/>
            <a:ext cx="1769129" cy="485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9BDEFB5-BD7E-2CD9-FCBD-AC9B5CAAFFB1}"/>
              </a:ext>
            </a:extLst>
          </p:cNvPr>
          <p:cNvSpPr txBox="1"/>
          <p:nvPr/>
        </p:nvSpPr>
        <p:spPr>
          <a:xfrm>
            <a:off x="4398286" y="1041769"/>
            <a:ext cx="2890982" cy="2951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>
                <a:latin typeface="Montserrat" pitchFamily="2" charset="77"/>
              </a:rPr>
              <a:t>Network effec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D08AB1-D1DB-7C43-1477-46DD4B32EFEC}"/>
              </a:ext>
            </a:extLst>
          </p:cNvPr>
          <p:cNvSpPr txBox="1"/>
          <p:nvPr/>
        </p:nvSpPr>
        <p:spPr>
          <a:xfrm>
            <a:off x="8476474" y="2667730"/>
            <a:ext cx="2890982" cy="5988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 b="1" dirty="0">
                <a:latin typeface="Montserrat" pitchFamily="2" charset="77"/>
              </a:rPr>
              <a:t>Massive user-behavior datase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3CE268-2E26-2FE9-4C8F-3A5474053645}"/>
              </a:ext>
            </a:extLst>
          </p:cNvPr>
          <p:cNvSpPr txBox="1"/>
          <p:nvPr/>
        </p:nvSpPr>
        <p:spPr>
          <a:xfrm>
            <a:off x="387812" y="2583142"/>
            <a:ext cx="2890982" cy="5946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600" b="1" dirty="0">
                <a:latin typeface="Montserrat" pitchFamily="2" charset="77"/>
              </a:rPr>
              <a:t>Control of key digital infrastructu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040879-2766-2EF2-576C-E0F490AB5CC5}"/>
              </a:ext>
            </a:extLst>
          </p:cNvPr>
          <p:cNvSpPr txBox="1"/>
          <p:nvPr/>
        </p:nvSpPr>
        <p:spPr>
          <a:xfrm>
            <a:off x="452888" y="5415760"/>
            <a:ext cx="2890982" cy="2951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600" b="1" dirty="0">
                <a:latin typeface="Montserrat" pitchFamily="2" charset="77"/>
              </a:rPr>
              <a:t>Acquisition of emerging competito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7CBDAE-B1FF-C0DE-FEC6-193598674668}"/>
              </a:ext>
            </a:extLst>
          </p:cNvPr>
          <p:cNvSpPr txBox="1"/>
          <p:nvPr/>
        </p:nvSpPr>
        <p:spPr>
          <a:xfrm>
            <a:off x="8172367" y="5415760"/>
            <a:ext cx="2890982" cy="2951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 b="1" dirty="0">
                <a:latin typeface="Montserrat" pitchFamily="2" charset="77"/>
              </a:rPr>
              <a:t>Acquisition of emerging competitors</a:t>
            </a:r>
          </a:p>
        </p:txBody>
      </p:sp>
    </p:spTree>
    <p:extLst>
      <p:ext uri="{BB962C8B-B14F-4D97-AF65-F5344CB8AC3E}">
        <p14:creationId xmlns:p14="http://schemas.microsoft.com/office/powerpoint/2010/main" val="2978764646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ews Releases | Robert Half">
            <a:extLst>
              <a:ext uri="{FF2B5EF4-FFF2-40B4-BE49-F238E27FC236}">
                <a16:creationId xmlns:a16="http://schemas.microsoft.com/office/drawing/2014/main" id="{DEC320E9-F7C9-1CAE-4236-6CEA4E4366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3633" y="3687041"/>
            <a:ext cx="2167500" cy="108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61FCE-071C-B845-AEA9-3EFDA742B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2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EA0160-15F1-DB43-B1A5-F2A42B4F9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orking with many famous brands</a:t>
            </a:r>
          </a:p>
        </p:txBody>
      </p:sp>
      <p:pic>
        <p:nvPicPr>
          <p:cNvPr id="9" name="image58.png" descr="image58.png">
            <a:extLst>
              <a:ext uri="{FF2B5EF4-FFF2-40B4-BE49-F238E27FC236}">
                <a16:creationId xmlns:a16="http://schemas.microsoft.com/office/drawing/2014/main" id="{37D8E565-B46C-E34B-8E6C-5B8CEEEAB4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4862" y="5558045"/>
            <a:ext cx="2027537" cy="27620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icture 26" descr="Picture 26">
            <a:extLst>
              <a:ext uri="{FF2B5EF4-FFF2-40B4-BE49-F238E27FC236}">
                <a16:creationId xmlns:a16="http://schemas.microsoft.com/office/drawing/2014/main" id="{2A4F48F0-F54D-7047-9016-72EE3B90C2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970" y="2167691"/>
            <a:ext cx="673732" cy="574635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CBCBC640-836D-9144-A449-8FB8FEF5F82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15723" y="2262239"/>
            <a:ext cx="1362850" cy="3891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Picture 48" descr="Picture 48">
            <a:extLst>
              <a:ext uri="{FF2B5EF4-FFF2-40B4-BE49-F238E27FC236}">
                <a16:creationId xmlns:a16="http://schemas.microsoft.com/office/drawing/2014/main" id="{EE7F35CD-81E2-794C-A8DA-95538E3F16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6805" y="1251607"/>
            <a:ext cx="1915681" cy="470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Picture 51" descr="Picture 51">
            <a:extLst>
              <a:ext uri="{FF2B5EF4-FFF2-40B4-BE49-F238E27FC236}">
                <a16:creationId xmlns:a16="http://schemas.microsoft.com/office/drawing/2014/main" id="{F5A44D0D-87D7-364C-85A3-B308F62230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1097" y="2192846"/>
            <a:ext cx="1583220" cy="4572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Picture 2" descr="Picture 2">
            <a:extLst>
              <a:ext uri="{FF2B5EF4-FFF2-40B4-BE49-F238E27FC236}">
                <a16:creationId xmlns:a16="http://schemas.microsoft.com/office/drawing/2014/main" id="{3A294256-5532-0443-B46C-A6CB62FF08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5905" y="2103474"/>
            <a:ext cx="1583220" cy="846161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76F6595-FA34-9A4E-AC2A-1418C9BDFF1D}"/>
              </a:ext>
            </a:extLst>
          </p:cNvPr>
          <p:cNvSpPr/>
          <p:nvPr/>
        </p:nvSpPr>
        <p:spPr>
          <a:xfrm>
            <a:off x="673100" y="1189730"/>
            <a:ext cx="11106524" cy="5060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6" name="Picture 20" descr="Picture 20">
            <a:extLst>
              <a:ext uri="{FF2B5EF4-FFF2-40B4-BE49-F238E27FC236}">
                <a16:creationId xmlns:a16="http://schemas.microsoft.com/office/drawing/2014/main" id="{93BA4A42-C97A-204F-8A7D-5737AD6FA6D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3481" y="5450013"/>
            <a:ext cx="870128" cy="436513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icture 31" descr="Picture 31">
            <a:extLst>
              <a:ext uri="{FF2B5EF4-FFF2-40B4-BE49-F238E27FC236}">
                <a16:creationId xmlns:a16="http://schemas.microsoft.com/office/drawing/2014/main" id="{9F1C9947-539A-1948-8584-252B98F0FB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2681" y="3135930"/>
            <a:ext cx="1674124" cy="254109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image171.png">
            <a:extLst>
              <a:ext uri="{FF2B5EF4-FFF2-40B4-BE49-F238E27FC236}">
                <a16:creationId xmlns:a16="http://schemas.microsoft.com/office/drawing/2014/main" id="{790103D3-0B14-9B48-9945-D5E40C5D59D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70923" y="3078492"/>
            <a:ext cx="1620080" cy="4572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icture 6" descr="SC Johnson - A Family Company at Work for a Better World">
            <a:extLst>
              <a:ext uri="{FF2B5EF4-FFF2-40B4-BE49-F238E27FC236}">
                <a16:creationId xmlns:a16="http://schemas.microsoft.com/office/drawing/2014/main" id="{7C9F7B72-820F-284F-894B-9CE20DAA2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9781" y="4824578"/>
            <a:ext cx="129941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AT&amp;T Official Site - Unlimited Data Plans, Internet Service, &amp; TV">
            <a:extLst>
              <a:ext uri="{FF2B5EF4-FFF2-40B4-BE49-F238E27FC236}">
                <a16:creationId xmlns:a16="http://schemas.microsoft.com/office/drawing/2014/main" id="{5D68AC6E-1FD0-834F-A92D-57A84D0E1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2352" y="2970428"/>
            <a:ext cx="725584" cy="725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Procter &amp; Gamble - Wikipedia">
            <a:extLst>
              <a:ext uri="{FF2B5EF4-FFF2-40B4-BE49-F238E27FC236}">
                <a16:creationId xmlns:a16="http://schemas.microsoft.com/office/drawing/2014/main" id="{F493A85C-38BE-D041-8FD1-4DE1A8B638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18014" y="3951114"/>
            <a:ext cx="572208" cy="572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>
            <a:extLst>
              <a:ext uri="{FF2B5EF4-FFF2-40B4-BE49-F238E27FC236}">
                <a16:creationId xmlns:a16="http://schemas.microsoft.com/office/drawing/2014/main" id="{35DAFF80-4DCA-9546-9286-ABA96620C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732" y="2815960"/>
            <a:ext cx="492892" cy="657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>
            <a:extLst>
              <a:ext uri="{FF2B5EF4-FFF2-40B4-BE49-F238E27FC236}">
                <a16:creationId xmlns:a16="http://schemas.microsoft.com/office/drawing/2014/main" id="{25D3F7C9-5226-474C-B05C-6291FBFCA1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0213" y="2259070"/>
            <a:ext cx="11430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 descr="Flying Blue - InterContinental Hotels Group">
            <a:extLst>
              <a:ext uri="{FF2B5EF4-FFF2-40B4-BE49-F238E27FC236}">
                <a16:creationId xmlns:a16="http://schemas.microsoft.com/office/drawing/2014/main" id="{E4A4CF5A-F635-714E-BED6-9B0DD8287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2792" y="2970428"/>
            <a:ext cx="185488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0" descr="Corteva Agriscience™ logo">
            <a:extLst>
              <a:ext uri="{FF2B5EF4-FFF2-40B4-BE49-F238E27FC236}">
                <a16:creationId xmlns:a16="http://schemas.microsoft.com/office/drawing/2014/main" id="{0DFA5432-B60C-7B4B-BA9E-F1324097E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4534" y="4004075"/>
            <a:ext cx="1566023" cy="309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Harrods Logo Gold | Walpole">
            <a:extLst>
              <a:ext uri="{FF2B5EF4-FFF2-40B4-BE49-F238E27FC236}">
                <a16:creationId xmlns:a16="http://schemas.microsoft.com/office/drawing/2014/main" id="{C4C3A1C0-239B-DC46-B123-AA7295FFA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61" y="4833693"/>
            <a:ext cx="105254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Bacardi® Rum Unveils Bold New Pack Design">
            <a:extLst>
              <a:ext uri="{FF2B5EF4-FFF2-40B4-BE49-F238E27FC236}">
                <a16:creationId xmlns:a16="http://schemas.microsoft.com/office/drawing/2014/main" id="{9501D347-D53E-2643-9D27-DE1D100AE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849" y="3702059"/>
            <a:ext cx="845297" cy="845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 descr="Caterpillar Logo">
            <a:extLst>
              <a:ext uri="{FF2B5EF4-FFF2-40B4-BE49-F238E27FC236}">
                <a16:creationId xmlns:a16="http://schemas.microsoft.com/office/drawing/2014/main" id="{07653917-D178-2F42-BE5C-F30D45E450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9298" y="4894953"/>
            <a:ext cx="1491692" cy="23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D976E16-2E49-C24E-ACAA-75368C7661B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965835" y="4009309"/>
            <a:ext cx="436957" cy="507814"/>
          </a:xfrm>
          <a:prstGeom prst="rect">
            <a:avLst/>
          </a:prstGeom>
        </p:spPr>
      </p:pic>
      <p:pic>
        <p:nvPicPr>
          <p:cNvPr id="34" name="Picture 16" descr="Pfizer Logo Footer">
            <a:extLst>
              <a:ext uri="{FF2B5EF4-FFF2-40B4-BE49-F238E27FC236}">
                <a16:creationId xmlns:a16="http://schemas.microsoft.com/office/drawing/2014/main" id="{EFC32B9A-1879-B649-90A7-EBF5B6F97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0998" y="5544285"/>
            <a:ext cx="7761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8" descr="Bill &amp; Melinda Gates Foundation | Inflexion">
            <a:extLst>
              <a:ext uri="{FF2B5EF4-FFF2-40B4-BE49-F238E27FC236}">
                <a16:creationId xmlns:a16="http://schemas.microsoft.com/office/drawing/2014/main" id="{77A5137B-EA6B-0C42-8EDB-13683E85B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278" y="5708635"/>
            <a:ext cx="1464780" cy="30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2" descr="Graphic Guidelines | Girl Scouts of Southwest Indiana">
            <a:extLst>
              <a:ext uri="{FF2B5EF4-FFF2-40B4-BE49-F238E27FC236}">
                <a16:creationId xmlns:a16="http://schemas.microsoft.com/office/drawing/2014/main" id="{CB04F469-763D-3A4E-B5CA-29DFA8C3B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3426" y="4700959"/>
            <a:ext cx="1311636" cy="51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8" descr="Microsoft unveils its new logo, the first major change in 25 years - The  Verge">
            <a:extLst>
              <a:ext uri="{FF2B5EF4-FFF2-40B4-BE49-F238E27FC236}">
                <a16:creationId xmlns:a16="http://schemas.microsoft.com/office/drawing/2014/main" id="{2A4C2B77-F5D4-0E49-B5B0-2FE72CF561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3690" y="1444926"/>
            <a:ext cx="1447893" cy="33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0">
            <a:extLst>
              <a:ext uri="{FF2B5EF4-FFF2-40B4-BE49-F238E27FC236}">
                <a16:creationId xmlns:a16="http://schemas.microsoft.com/office/drawing/2014/main" id="{025A85BB-9EC2-F146-81BB-75F8B0819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2493" y="4711970"/>
            <a:ext cx="167284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2" descr="Lenovo Laptops | Business Tablets Lenovo | Lenovo Online Store | Lenovo  Notebooks | Best Lenovo Laptops | Insight">
            <a:extLst>
              <a:ext uri="{FF2B5EF4-FFF2-40B4-BE49-F238E27FC236}">
                <a16:creationId xmlns:a16="http://schemas.microsoft.com/office/drawing/2014/main" id="{F9480169-EEFF-EC4A-B9B7-DEED77ED29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53" t="24864" r="10741" b="25182"/>
          <a:stretch/>
        </p:blipFill>
        <p:spPr bwMode="auto">
          <a:xfrm>
            <a:off x="4759361" y="3103238"/>
            <a:ext cx="1021803" cy="355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8">
            <a:extLst>
              <a:ext uri="{FF2B5EF4-FFF2-40B4-BE49-F238E27FC236}">
                <a16:creationId xmlns:a16="http://schemas.microsoft.com/office/drawing/2014/main" id="{8ACB24CD-10A0-8143-8F5F-2EF1A94B1D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0589" y="2089421"/>
            <a:ext cx="551181" cy="55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Health Insurance Plans | Aetna">
            <a:extLst>
              <a:ext uri="{FF2B5EF4-FFF2-40B4-BE49-F238E27FC236}">
                <a16:creationId xmlns:a16="http://schemas.microsoft.com/office/drawing/2014/main" id="{C3CB12AB-0F3F-8A40-8935-96A67CDD0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6362" y="2359572"/>
            <a:ext cx="1391848" cy="27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2" descr="Southwest logo | evolution history and meaning">
            <a:extLst>
              <a:ext uri="{FF2B5EF4-FFF2-40B4-BE49-F238E27FC236}">
                <a16:creationId xmlns:a16="http://schemas.microsoft.com/office/drawing/2014/main" id="{DF5009B8-8B92-8547-A24A-770609106C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46166" y="5664216"/>
            <a:ext cx="1577872" cy="25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4" descr="Johnson &amp; Johnson Homepage | Johnson &amp; Johnson">
            <a:extLst>
              <a:ext uri="{FF2B5EF4-FFF2-40B4-BE49-F238E27FC236}">
                <a16:creationId xmlns:a16="http://schemas.microsoft.com/office/drawing/2014/main" id="{33A0809C-2F43-0E4B-B999-0CAE10E1C9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8256" y="5544404"/>
            <a:ext cx="2133525" cy="41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 descr="Bank of America Chief Marketing Officer Meredith Verdone on logo change,  new ad campaign - Charlotte Business Journal">
            <a:extLst>
              <a:ext uri="{FF2B5EF4-FFF2-40B4-BE49-F238E27FC236}">
                <a16:creationId xmlns:a16="http://schemas.microsoft.com/office/drawing/2014/main" id="{43BA5061-FB7E-0B42-A0DC-85E9B51EEC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5533" y="2993241"/>
            <a:ext cx="1149307" cy="646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McGraw Hill Financial Changes Name to S&amp;amp;P Global Inc.">
            <a:extLst>
              <a:ext uri="{FF2B5EF4-FFF2-40B4-BE49-F238E27FC236}">
                <a16:creationId xmlns:a16="http://schemas.microsoft.com/office/drawing/2014/main" id="{278B7A79-4218-D280-5781-4CCE5D4C4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49621" y="1427023"/>
            <a:ext cx="1391693" cy="320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>
            <a:extLst>
              <a:ext uri="{FF2B5EF4-FFF2-40B4-BE49-F238E27FC236}">
                <a16:creationId xmlns:a16="http://schemas.microsoft.com/office/drawing/2014/main" id="{78404553-9A34-3A76-D722-83DBCC6E1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0351" y="2285048"/>
            <a:ext cx="1164218" cy="310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4AA0908A-281D-B27A-2132-10F66F7735F7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729" y="1266762"/>
            <a:ext cx="845040" cy="640540"/>
          </a:xfrm>
          <a:prstGeom prst="rect">
            <a:avLst/>
          </a:prstGeom>
        </p:spPr>
      </p:pic>
      <p:pic>
        <p:nvPicPr>
          <p:cNvPr id="53" name="Picture 14" descr="Visa Home">
            <a:extLst>
              <a:ext uri="{FF2B5EF4-FFF2-40B4-BE49-F238E27FC236}">
                <a16:creationId xmlns:a16="http://schemas.microsoft.com/office/drawing/2014/main" id="{C9020C06-2188-5B63-0833-5134150D5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4862" y="2992292"/>
            <a:ext cx="784778" cy="25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1E2125C-42F4-CE93-1C35-5C943AC2C9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16475" y="4824578"/>
            <a:ext cx="1599013" cy="24270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1491A15-455E-3A9B-A1F5-41AF635D0BF6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069" y="1389239"/>
            <a:ext cx="1020083" cy="408033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1939CBF4-C16B-8392-343D-1E06C5EC42B5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4585" y="-1495265"/>
            <a:ext cx="1601970" cy="347628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63B04F46-9B9A-5A5F-37EC-AA6307F456E7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3961" y="3785455"/>
            <a:ext cx="665393" cy="76190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EDD91E6F-0B8E-6150-A97A-B5811D3B9BF8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3508" y="4105682"/>
            <a:ext cx="1141959" cy="247805"/>
          </a:xfrm>
          <a:prstGeom prst="rect">
            <a:avLst/>
          </a:prstGeom>
        </p:spPr>
      </p:pic>
      <p:pic>
        <p:nvPicPr>
          <p:cNvPr id="59" name="Picture 6" descr="Audit, Tax and Advisory Services | Grant Thornton">
            <a:extLst>
              <a:ext uri="{FF2B5EF4-FFF2-40B4-BE49-F238E27FC236}">
                <a16:creationId xmlns:a16="http://schemas.microsoft.com/office/drawing/2014/main" id="{501A9F5F-7897-E300-FA6B-4AF97EAFEA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2231" y="3884055"/>
            <a:ext cx="1958964" cy="731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UL (safety organization) - Wikipedia">
            <a:extLst>
              <a:ext uri="{FF2B5EF4-FFF2-40B4-BE49-F238E27FC236}">
                <a16:creationId xmlns:a16="http://schemas.microsoft.com/office/drawing/2014/main" id="{F22D55DE-0BEC-AED1-511E-27F315E42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676" y="1370048"/>
            <a:ext cx="1190145" cy="48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377526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36BB33-F02A-945B-05EC-772997F62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77713-1360-C841-427B-6A1F51D21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? Brand is much more than communication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BA6B2B-AE95-EA49-0D93-145E37FFE8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20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3F4B6C-A5C3-FD3F-6CB6-0B7142F2F69A}"/>
              </a:ext>
            </a:extLst>
          </p:cNvPr>
          <p:cNvSpPr txBox="1"/>
          <p:nvPr/>
        </p:nvSpPr>
        <p:spPr>
          <a:xfrm>
            <a:off x="323352" y="920084"/>
            <a:ext cx="114224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effectLst/>
                <a:latin typeface="Montserrat" pitchFamily="2" charset="77"/>
              </a:rPr>
              <a:t>It’s about servicing the customer in many ways that are different, p</a:t>
            </a:r>
            <a:r>
              <a:rPr lang="en-US" sz="1400" dirty="0">
                <a:solidFill>
                  <a:srgbClr val="000000"/>
                </a:solidFill>
                <a:latin typeface="Montserrat" pitchFamily="2" charset="77"/>
              </a:rPr>
              <a:t>roviding products tailored to their needs and, above all, innovating</a:t>
            </a:r>
            <a:endParaRPr lang="en-US" sz="1400" dirty="0">
              <a:solidFill>
                <a:srgbClr val="000000"/>
              </a:solidFill>
              <a:effectLst/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AC8865-9E7F-28A3-D66F-52EE0A8F52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4602" y="3306468"/>
            <a:ext cx="4694674" cy="28158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BD7004-01EE-F3DE-1DA4-EFDA9168B1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953" t="6869" r="9450" b="11101"/>
          <a:stretch>
            <a:fillRect/>
          </a:stretch>
        </p:blipFill>
        <p:spPr>
          <a:xfrm>
            <a:off x="7688826" y="1602657"/>
            <a:ext cx="2330245" cy="1344823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671C1DDE-65B1-B4A1-7CDC-BD13A12C03C8}"/>
              </a:ext>
            </a:extLst>
          </p:cNvPr>
          <p:cNvSpPr/>
          <p:nvPr/>
        </p:nvSpPr>
        <p:spPr>
          <a:xfrm>
            <a:off x="2618532" y="1523783"/>
            <a:ext cx="1256604" cy="125660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itchFamily="2" charset="77"/>
                <a:cs typeface="Arial"/>
              </a:rPr>
              <a:t>Mktg &amp;  Comm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4F66A0B-3036-A359-1C5E-D216467F4311}"/>
              </a:ext>
            </a:extLst>
          </p:cNvPr>
          <p:cNvSpPr/>
          <p:nvPr/>
        </p:nvSpPr>
        <p:spPr>
          <a:xfrm>
            <a:off x="1590274" y="4665332"/>
            <a:ext cx="1256604" cy="125660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200" b="1" dirty="0">
                <a:latin typeface="Montserrat" pitchFamily="2" charset="77"/>
                <a:cs typeface="Arial"/>
              </a:rPr>
              <a:t>Operations &amp; I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4D11CC-653C-7E61-0209-034D04111C8E}"/>
              </a:ext>
            </a:extLst>
          </p:cNvPr>
          <p:cNvSpPr/>
          <p:nvPr/>
        </p:nvSpPr>
        <p:spPr>
          <a:xfrm>
            <a:off x="3723287" y="4665332"/>
            <a:ext cx="1256604" cy="125660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latin typeface="Montserrat" pitchFamily="2" charset="77"/>
                <a:cs typeface="Arial"/>
              </a:rPr>
              <a:t>H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0234956-2E41-87DD-80DC-8588EE4DB6CC}"/>
              </a:ext>
            </a:extLst>
          </p:cNvPr>
          <p:cNvSpPr/>
          <p:nvPr/>
        </p:nvSpPr>
        <p:spPr>
          <a:xfrm>
            <a:off x="804013" y="2730566"/>
            <a:ext cx="1256604" cy="125660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itchFamily="2" charset="77"/>
                <a:cs typeface="Arial"/>
              </a:rPr>
              <a:t>Product Offering &amp; R&amp;D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79F8940-C05A-3916-60C5-AC4D8E22656B}"/>
              </a:ext>
            </a:extLst>
          </p:cNvPr>
          <p:cNvSpPr/>
          <p:nvPr/>
        </p:nvSpPr>
        <p:spPr>
          <a:xfrm>
            <a:off x="4404232" y="2749768"/>
            <a:ext cx="1256604" cy="125660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latin typeface="Montserrat" pitchFamily="2" charset="77"/>
                <a:cs typeface="Arial"/>
              </a:rPr>
              <a:t>Customer Servic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95B8BEA-3CD9-BF49-0281-9166AA2190DF}"/>
              </a:ext>
            </a:extLst>
          </p:cNvPr>
          <p:cNvCxnSpPr>
            <a:cxnSpLocks/>
            <a:stCxn id="7" idx="4"/>
            <a:endCxn id="8" idx="0"/>
          </p:cNvCxnSpPr>
          <p:nvPr/>
        </p:nvCxnSpPr>
        <p:spPr>
          <a:xfrm flipH="1">
            <a:off x="2218576" y="2780387"/>
            <a:ext cx="1028258" cy="188494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C27D92-C644-27D1-DDCD-194CF7AABE2E}"/>
              </a:ext>
            </a:extLst>
          </p:cNvPr>
          <p:cNvCxnSpPr>
            <a:cxnSpLocks/>
            <a:stCxn id="7" idx="4"/>
            <a:endCxn id="9" idx="0"/>
          </p:cNvCxnSpPr>
          <p:nvPr/>
        </p:nvCxnSpPr>
        <p:spPr>
          <a:xfrm>
            <a:off x="3246834" y="2780387"/>
            <a:ext cx="1104755" cy="188494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F64772B-7B6C-BA57-EA4F-1948103327EF}"/>
              </a:ext>
            </a:extLst>
          </p:cNvPr>
          <p:cNvCxnSpPr>
            <a:cxnSpLocks/>
            <a:stCxn id="10" idx="6"/>
            <a:endCxn id="9" idx="0"/>
          </p:cNvCxnSpPr>
          <p:nvPr/>
        </p:nvCxnSpPr>
        <p:spPr>
          <a:xfrm>
            <a:off x="2060617" y="3358868"/>
            <a:ext cx="2290972" cy="1306464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38C6CE8-306F-FC1F-9E25-0D90B9FEF167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2218576" y="3378070"/>
            <a:ext cx="2185656" cy="1287262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F7EAC3-7051-53F8-EB77-B2BC7A679B48}"/>
              </a:ext>
            </a:extLst>
          </p:cNvPr>
          <p:cNvCxnSpPr>
            <a:cxnSpLocks/>
            <a:stCxn id="10" idx="6"/>
            <a:endCxn id="11" idx="2"/>
          </p:cNvCxnSpPr>
          <p:nvPr/>
        </p:nvCxnSpPr>
        <p:spPr>
          <a:xfrm>
            <a:off x="2060617" y="3358868"/>
            <a:ext cx="2343615" cy="19202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876AB10-C2EE-AECC-1DBF-174F3741FB4E}"/>
              </a:ext>
            </a:extLst>
          </p:cNvPr>
          <p:cNvCxnSpPr>
            <a:cxnSpLocks/>
            <a:stCxn id="10" idx="4"/>
            <a:endCxn id="8" idx="1"/>
          </p:cNvCxnSpPr>
          <p:nvPr/>
        </p:nvCxnSpPr>
        <p:spPr>
          <a:xfrm>
            <a:off x="1432315" y="3987170"/>
            <a:ext cx="341984" cy="8621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9868F03-A9C6-4C5D-0784-926E454220C6}"/>
              </a:ext>
            </a:extLst>
          </p:cNvPr>
          <p:cNvCxnSpPr>
            <a:cxnSpLocks/>
            <a:stCxn id="10" idx="7"/>
            <a:endCxn id="7" idx="2"/>
          </p:cNvCxnSpPr>
          <p:nvPr/>
        </p:nvCxnSpPr>
        <p:spPr>
          <a:xfrm flipV="1">
            <a:off x="1876592" y="2152085"/>
            <a:ext cx="741940" cy="762506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CFD38D-666C-59FA-F6B8-5C62965758E7}"/>
              </a:ext>
            </a:extLst>
          </p:cNvPr>
          <p:cNvCxnSpPr>
            <a:cxnSpLocks/>
            <a:stCxn id="11" idx="1"/>
            <a:endCxn id="7" idx="6"/>
          </p:cNvCxnSpPr>
          <p:nvPr/>
        </p:nvCxnSpPr>
        <p:spPr>
          <a:xfrm flipH="1" flipV="1">
            <a:off x="3875136" y="2152085"/>
            <a:ext cx="713121" cy="78170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1BFBAC5-8CCF-53CC-25A4-4BA77D743BCE}"/>
              </a:ext>
            </a:extLst>
          </p:cNvPr>
          <p:cNvCxnSpPr>
            <a:cxnSpLocks/>
            <a:stCxn id="9" idx="7"/>
            <a:endCxn id="11" idx="4"/>
          </p:cNvCxnSpPr>
          <p:nvPr/>
        </p:nvCxnSpPr>
        <p:spPr>
          <a:xfrm flipV="1">
            <a:off x="4795866" y="4006372"/>
            <a:ext cx="236668" cy="8429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6C5A1E4-36F0-1D14-B01E-4B0C02313E44}"/>
              </a:ext>
            </a:extLst>
          </p:cNvPr>
          <p:cNvCxnSpPr>
            <a:cxnSpLocks/>
            <a:stCxn id="8" idx="6"/>
            <a:endCxn id="9" idx="2"/>
          </p:cNvCxnSpPr>
          <p:nvPr/>
        </p:nvCxnSpPr>
        <p:spPr>
          <a:xfrm>
            <a:off x="2846878" y="5293634"/>
            <a:ext cx="876409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6064A0F7-7228-F944-CBAD-0B7514529EAB}"/>
              </a:ext>
            </a:extLst>
          </p:cNvPr>
          <p:cNvSpPr txBox="1"/>
          <p:nvPr/>
        </p:nvSpPr>
        <p:spPr>
          <a:xfrm>
            <a:off x="2608700" y="3350331"/>
            <a:ext cx="1255293" cy="5612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>
                <a:latin typeface="Montserrat" pitchFamily="2" charset="77"/>
              </a:rPr>
              <a:t>Brand</a:t>
            </a:r>
            <a:br>
              <a:rPr lang="en-US" sz="1400" b="1" dirty="0">
                <a:latin typeface="Montserrat" pitchFamily="2" charset="77"/>
              </a:rPr>
            </a:br>
            <a:r>
              <a:rPr lang="en-US" sz="1400" b="1" dirty="0">
                <a:latin typeface="Montserrat" pitchFamily="2" charset="77"/>
              </a:rPr>
              <a:t>Strategy</a:t>
            </a:r>
          </a:p>
        </p:txBody>
      </p:sp>
    </p:spTree>
    <p:extLst>
      <p:ext uri="{BB962C8B-B14F-4D97-AF65-F5344CB8AC3E}">
        <p14:creationId xmlns:p14="http://schemas.microsoft.com/office/powerpoint/2010/main" val="3587751985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3A0944-2BA0-AAF2-EA63-B7D773616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AF5B3-6B9D-A8C7-178A-64EB4699A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a world of identical choices, people will rely on brands more than ev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D0037-3D04-084A-9D34-6C899CC5A0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052" name="Picture 4" descr="How To Make Your Brand Stand Out: Ideas ...">
            <a:extLst>
              <a:ext uri="{FF2B5EF4-FFF2-40B4-BE49-F238E27FC236}">
                <a16:creationId xmlns:a16="http://schemas.microsoft.com/office/drawing/2014/main" id="{1D0BD9F8-BE07-4517-E4DC-EC8EC8BED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04" y="2064774"/>
            <a:ext cx="5154310" cy="321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B97DBE5-2164-E1ED-0A31-F2FAF791EF47}"/>
              </a:ext>
            </a:extLst>
          </p:cNvPr>
          <p:cNvSpPr txBox="1"/>
          <p:nvPr/>
        </p:nvSpPr>
        <p:spPr>
          <a:xfrm>
            <a:off x="323352" y="1243926"/>
            <a:ext cx="61009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Montserrat" pitchFamily="2" charset="77"/>
              </a:rPr>
              <a:t>The competitive advantage of standing out will be multiplied many tim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E3D8B0-AF8B-CD61-4DD1-83E864BA6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1999" y="1734231"/>
            <a:ext cx="547519" cy="672628"/>
          </a:xfrm>
          <a:prstGeom prst="rect">
            <a:avLst/>
          </a:prstGeom>
        </p:spPr>
      </p:pic>
      <p:pic>
        <p:nvPicPr>
          <p:cNvPr id="5122" name="Picture 2" descr="Red Bull '08 Logo Pack | Stunod Racing">
            <a:extLst>
              <a:ext uri="{FF2B5EF4-FFF2-40B4-BE49-F238E27FC236}">
                <a16:creationId xmlns:a16="http://schemas.microsoft.com/office/drawing/2014/main" id="{D93891B8-1840-5788-2A76-A7701A8A86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82" b="28986"/>
          <a:stretch>
            <a:fillRect/>
          </a:stretch>
        </p:blipFill>
        <p:spPr bwMode="auto">
          <a:xfrm>
            <a:off x="9766508" y="1650742"/>
            <a:ext cx="1698523" cy="83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252AD819-CE86-39CC-8D19-5A591DFF97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762" y="3359580"/>
            <a:ext cx="1504335" cy="40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1914C253-EF7D-B083-89C7-EFA2C020DE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675" y="4919494"/>
            <a:ext cx="1788243" cy="715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Patagonia Logo, symbol, meaning, history, PNG, brand">
            <a:extLst>
              <a:ext uri="{FF2B5EF4-FFF2-40B4-BE49-F238E27FC236}">
                <a16:creationId xmlns:a16="http://schemas.microsoft.com/office/drawing/2014/main" id="{B2548D5C-917B-8AF2-0EF1-71C4656FEC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37" b="26864"/>
          <a:stretch>
            <a:fillRect/>
          </a:stretch>
        </p:blipFill>
        <p:spPr bwMode="auto">
          <a:xfrm>
            <a:off x="9624559" y="3359580"/>
            <a:ext cx="1966452" cy="50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>
            <a:extLst>
              <a:ext uri="{FF2B5EF4-FFF2-40B4-BE49-F238E27FC236}">
                <a16:creationId xmlns:a16="http://schemas.microsoft.com/office/drawing/2014/main" id="{3052425F-8E6B-371C-864F-3E6804EB6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4328" y="4783072"/>
            <a:ext cx="982881" cy="988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7071EA1-ACCF-3B7F-D584-D53AE9035930}"/>
              </a:ext>
            </a:extLst>
          </p:cNvPr>
          <p:cNvSpPr txBox="1"/>
          <p:nvPr/>
        </p:nvSpPr>
        <p:spPr>
          <a:xfrm>
            <a:off x="6738627" y="2481937"/>
            <a:ext cx="12342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Design and</a:t>
            </a:r>
            <a:br>
              <a:rPr lang="en-US" sz="1400" dirty="0">
                <a:latin typeface="Montserrat" pitchFamily="2" charset="77"/>
              </a:rPr>
            </a:br>
            <a:r>
              <a:rPr lang="en-US" sz="1400" dirty="0">
                <a:latin typeface="Montserrat" pitchFamily="2" charset="77"/>
              </a:rPr>
              <a:t>simplic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FBBE9B-7827-2B83-B35F-A393FEF64509}"/>
              </a:ext>
            </a:extLst>
          </p:cNvPr>
          <p:cNvSpPr txBox="1"/>
          <p:nvPr/>
        </p:nvSpPr>
        <p:spPr>
          <a:xfrm>
            <a:off x="9388029" y="2490348"/>
            <a:ext cx="24395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Inventing an entire catego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E5F46A-9B85-7B0D-082A-9C5A75293623}"/>
              </a:ext>
            </a:extLst>
          </p:cNvPr>
          <p:cNvSpPr txBox="1"/>
          <p:nvPr/>
        </p:nvSpPr>
        <p:spPr>
          <a:xfrm>
            <a:off x="6674630" y="3779777"/>
            <a:ext cx="14226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Early bet on stream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F1634D-4F1D-23B8-00AC-CC40DD621B09}"/>
              </a:ext>
            </a:extLst>
          </p:cNvPr>
          <p:cNvSpPr txBox="1"/>
          <p:nvPr/>
        </p:nvSpPr>
        <p:spPr>
          <a:xfrm>
            <a:off x="6755762" y="5663492"/>
            <a:ext cx="13823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A DIY</a:t>
            </a:r>
            <a:br>
              <a:rPr lang="en-US" sz="1400" dirty="0">
                <a:latin typeface="Montserrat" pitchFamily="2" charset="77"/>
              </a:rPr>
            </a:br>
            <a:r>
              <a:rPr lang="en-US" sz="1400" dirty="0">
                <a:latin typeface="Montserrat" pitchFamily="2" charset="77"/>
              </a:rPr>
              <a:t>exper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0C50A0-A77E-A8AF-DB12-51124237225C}"/>
              </a:ext>
            </a:extLst>
          </p:cNvPr>
          <p:cNvSpPr txBox="1"/>
          <p:nvPr/>
        </p:nvSpPr>
        <p:spPr>
          <a:xfrm>
            <a:off x="10006662" y="3817882"/>
            <a:ext cx="110054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Radical</a:t>
            </a:r>
            <a:br>
              <a:rPr lang="en-US" sz="1400" dirty="0">
                <a:latin typeface="Montserrat" pitchFamily="2" charset="77"/>
              </a:rPr>
            </a:br>
            <a:r>
              <a:rPr lang="en-US" sz="1400" dirty="0">
                <a:latin typeface="Montserrat" pitchFamily="2" charset="77"/>
              </a:rPr>
              <a:t>purpo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C935DE-C43C-5BCE-EE62-FEF52B06833C}"/>
              </a:ext>
            </a:extLst>
          </p:cNvPr>
          <p:cNvSpPr txBox="1"/>
          <p:nvPr/>
        </p:nvSpPr>
        <p:spPr>
          <a:xfrm>
            <a:off x="10026506" y="5788968"/>
            <a:ext cx="11785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A third</a:t>
            </a:r>
            <a:br>
              <a:rPr lang="en-US" sz="1400" dirty="0">
                <a:latin typeface="Montserrat" pitchFamily="2" charset="77"/>
              </a:rPr>
            </a:br>
            <a:r>
              <a:rPr lang="en-US" sz="1400" dirty="0">
                <a:latin typeface="Montserrat" pitchFamily="2" charset="77"/>
              </a:rPr>
              <a:t>pla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AA31B2-9C55-52C5-63C4-2831F88B3306}"/>
              </a:ext>
            </a:extLst>
          </p:cNvPr>
          <p:cNvSpPr txBox="1"/>
          <p:nvPr/>
        </p:nvSpPr>
        <p:spPr>
          <a:xfrm>
            <a:off x="7004384" y="1024192"/>
            <a:ext cx="4382983" cy="2951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>
                <a:latin typeface="Montserrat" pitchFamily="2" charset="77"/>
              </a:rPr>
              <a:t>Differentiated and successful brands</a:t>
            </a:r>
          </a:p>
        </p:txBody>
      </p:sp>
    </p:spTree>
    <p:extLst>
      <p:ext uri="{BB962C8B-B14F-4D97-AF65-F5344CB8AC3E}">
        <p14:creationId xmlns:p14="http://schemas.microsoft.com/office/powerpoint/2010/main" val="3873722969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790037-313C-7CD2-5ADE-7777B592E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64CDF3-DF6F-6FE7-5DEC-EA40E42D9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/>
          <a:lstStyle/>
          <a:p>
            <a:fld id="{058DAC43-1CF5-B041-9EC6-C41F5829B3D8}" type="slidenum">
              <a:rPr lang="en-US" smtClean="0"/>
              <a:t>2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D397-291C-0CFF-5BA1-7E776993A6BE}"/>
              </a:ext>
            </a:extLst>
          </p:cNvPr>
          <p:cNvSpPr txBox="1"/>
          <p:nvPr/>
        </p:nvSpPr>
        <p:spPr>
          <a:xfrm>
            <a:off x="1071418" y="2480554"/>
            <a:ext cx="10270837" cy="18968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HOW TO UNTAP</a:t>
            </a:r>
            <a:b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</a:br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THE HIDDEN VALUE OF BRAND</a:t>
            </a:r>
            <a:b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</a:br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IN THE ERA OF AI</a:t>
            </a:r>
          </a:p>
        </p:txBody>
      </p:sp>
    </p:spTree>
    <p:extLst>
      <p:ext uri="{BB962C8B-B14F-4D97-AF65-F5344CB8AC3E}">
        <p14:creationId xmlns:p14="http://schemas.microsoft.com/office/powerpoint/2010/main" val="65468677"/>
      </p:ext>
    </p:extLst>
  </p:cSld>
  <p:clrMapOvr>
    <a:masterClrMapping/>
  </p:clrMapOvr>
  <p:transition spd="slow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69068-F661-2A42-A7FB-7E274F786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4ED97-E1D0-673B-67A4-522373096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AI to improve your brand different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6036FB-4B9C-F52F-FFF9-FBB15B4FD5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AD315B-3A08-6221-105F-6D57776F418E}"/>
              </a:ext>
            </a:extLst>
          </p:cNvPr>
          <p:cNvSpPr txBox="1"/>
          <p:nvPr/>
        </p:nvSpPr>
        <p:spPr>
          <a:xfrm>
            <a:off x="323352" y="1108620"/>
            <a:ext cx="11422446" cy="4339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How you differentiate your brand and create your marketing and innovation strategy and investment plan can be more accurate, more efficient, and more effective with AI</a:t>
            </a:r>
          </a:p>
          <a:p>
            <a:pPr marL="342900" indent="-342900">
              <a:spcBef>
                <a:spcPts val="2400"/>
              </a:spcBef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  <a:latin typeface="Montserrat" pitchFamily="2" charset="77"/>
              </a:rPr>
              <a:t>U</a:t>
            </a: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se AI to make your consumer research better, your product better, your operations more efficient, your customer service better</a:t>
            </a:r>
          </a:p>
          <a:p>
            <a:pPr marL="342900" indent="-342900">
              <a:spcBef>
                <a:spcPts val="2400"/>
              </a:spcBef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  <a:latin typeface="Montserrat" pitchFamily="2" charset="77"/>
              </a:rPr>
              <a:t>A</a:t>
            </a: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pply AI to get closer to understanding the real motivations, needs, pain points, aspirations of the customers you have and the customers you want</a:t>
            </a:r>
          </a:p>
          <a:p>
            <a:pPr marL="342900" indent="-342900">
              <a:spcBef>
                <a:spcPts val="2400"/>
              </a:spcBef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Leverage AI to make your research better—look at many more customers and understand at a greater depth</a:t>
            </a:r>
          </a:p>
          <a:p>
            <a:pPr marL="342900" indent="-342900">
              <a:spcBef>
                <a:spcPts val="2400"/>
              </a:spcBef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Montserrat" pitchFamily="2" charset="77"/>
              </a:rPr>
              <a:t>dentify </a:t>
            </a: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the differences between customers at a micro level, and tailor and shape your offering and messaging, personalizing them down to the individual customer level</a:t>
            </a:r>
          </a:p>
          <a:p>
            <a:pPr marL="342900" indent="-342900">
              <a:spcBef>
                <a:spcPts val="2400"/>
              </a:spcBef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Learn from the companies that are already doing this</a:t>
            </a:r>
          </a:p>
        </p:txBody>
      </p:sp>
    </p:spTree>
    <p:extLst>
      <p:ext uri="{BB962C8B-B14F-4D97-AF65-F5344CB8AC3E}">
        <p14:creationId xmlns:p14="http://schemas.microsoft.com/office/powerpoint/2010/main" val="3549429014"/>
      </p:ext>
    </p:extLst>
  </p:cSld>
  <p:clrMapOvr>
    <a:masterClrMapping/>
  </p:clrMapOvr>
  <p:transition spd="slow"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0808F-83E1-7FF2-CE87-67F202C36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BAEEF-B9D6-850A-CACA-B3094DF95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 from companies already applying AI for competitive advant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6B7D8-C076-D2CA-5982-157B081BD4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C99BA1A-F6F9-AA57-F80B-997050896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4503" y="998043"/>
            <a:ext cx="1260351" cy="340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Amazon Logo and symbol, meaning, history, PNG, brand">
            <a:extLst>
              <a:ext uri="{FF2B5EF4-FFF2-40B4-BE49-F238E27FC236}">
                <a16:creationId xmlns:a16="http://schemas.microsoft.com/office/drawing/2014/main" id="{8742E02D-6CE2-DB42-9A5B-C961037FA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18" b="18888"/>
          <a:stretch>
            <a:fillRect/>
          </a:stretch>
        </p:blipFill>
        <p:spPr bwMode="auto">
          <a:xfrm>
            <a:off x="5135889" y="951208"/>
            <a:ext cx="1472890" cy="55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Elegant Logo Design Inspiration: JPMorgan Chase &amp; Co ...">
            <a:extLst>
              <a:ext uri="{FF2B5EF4-FFF2-40B4-BE49-F238E27FC236}">
                <a16:creationId xmlns:a16="http://schemas.microsoft.com/office/drawing/2014/main" id="{B20EF430-942F-FBE2-D1FE-1B50BF1EB5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83" b="38230"/>
          <a:stretch>
            <a:fillRect/>
          </a:stretch>
        </p:blipFill>
        <p:spPr bwMode="auto">
          <a:xfrm>
            <a:off x="7736298" y="972725"/>
            <a:ext cx="2153765" cy="366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49E9F2-9E83-5B9D-B79A-501DDBDE58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974" y="2751064"/>
            <a:ext cx="1418751" cy="734913"/>
          </a:xfrm>
          <a:prstGeom prst="rect">
            <a:avLst/>
          </a:prstGeom>
        </p:spPr>
      </p:pic>
      <p:pic>
        <p:nvPicPr>
          <p:cNvPr id="10248" name="Picture 8">
            <a:extLst>
              <a:ext uri="{FF2B5EF4-FFF2-40B4-BE49-F238E27FC236}">
                <a16:creationId xmlns:a16="http://schemas.microsoft.com/office/drawing/2014/main" id="{752B109C-C1C7-B1E2-28E4-1E74737CD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967" y="2885103"/>
            <a:ext cx="1734532" cy="466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FC922F-E64E-6CAE-4DD2-928C6026AF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5922" y="2566328"/>
            <a:ext cx="1217427" cy="839605"/>
          </a:xfrm>
          <a:prstGeom prst="rect">
            <a:avLst/>
          </a:prstGeom>
        </p:spPr>
      </p:pic>
      <p:pic>
        <p:nvPicPr>
          <p:cNvPr id="10252" name="Picture 12">
            <a:extLst>
              <a:ext uri="{FF2B5EF4-FFF2-40B4-BE49-F238E27FC236}">
                <a16:creationId xmlns:a16="http://schemas.microsoft.com/office/drawing/2014/main" id="{58107928-A9F1-C679-838F-A79C02048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684" y="2394139"/>
            <a:ext cx="848277" cy="98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4" name="Picture 14">
            <a:extLst>
              <a:ext uri="{FF2B5EF4-FFF2-40B4-BE49-F238E27FC236}">
                <a16:creationId xmlns:a16="http://schemas.microsoft.com/office/drawing/2014/main" id="{82996294-586A-2534-6B28-8E150BF2C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056" y="4644166"/>
            <a:ext cx="2410181" cy="56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6" name="Picture 16" descr="Sephora Logo, symbol, meaning, history, PNG, brand">
            <a:extLst>
              <a:ext uri="{FF2B5EF4-FFF2-40B4-BE49-F238E27FC236}">
                <a16:creationId xmlns:a16="http://schemas.microsoft.com/office/drawing/2014/main" id="{B8F9C2BE-92BF-6DF5-0439-404E9B420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86" b="34900"/>
          <a:stretch>
            <a:fillRect/>
          </a:stretch>
        </p:blipFill>
        <p:spPr bwMode="auto">
          <a:xfrm>
            <a:off x="5135889" y="4718960"/>
            <a:ext cx="2341769" cy="419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8" name="Picture 18" descr="001 Nike Logos Swoosh Black">
            <a:extLst>
              <a:ext uri="{FF2B5EF4-FFF2-40B4-BE49-F238E27FC236}">
                <a16:creationId xmlns:a16="http://schemas.microsoft.com/office/drawing/2014/main" id="{2290119F-D784-3181-60BA-16B5CB204B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4" t="24087" r="20575" b="28159"/>
          <a:stretch>
            <a:fillRect/>
          </a:stretch>
        </p:blipFill>
        <p:spPr bwMode="auto">
          <a:xfrm>
            <a:off x="8505953" y="4649250"/>
            <a:ext cx="1384110" cy="600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09D8160-B7D3-A318-25CE-0DE3C9A1C205}"/>
              </a:ext>
            </a:extLst>
          </p:cNvPr>
          <p:cNvSpPr txBox="1"/>
          <p:nvPr/>
        </p:nvSpPr>
        <p:spPr>
          <a:xfrm>
            <a:off x="2001563" y="1496370"/>
            <a:ext cx="241018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70% of what people watch on Netflix comes from recommendations made by A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22F025-79AE-CF82-5CAF-B512F4AD7555}"/>
              </a:ext>
            </a:extLst>
          </p:cNvPr>
          <p:cNvSpPr txBox="1"/>
          <p:nvPr/>
        </p:nvSpPr>
        <p:spPr>
          <a:xfrm>
            <a:off x="4498549" y="1496370"/>
            <a:ext cx="266876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Analyzes browsing, purchases and interactions to surface products for each customer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1CB5F2-6CA6-6762-18F8-49ACFE6DED2D}"/>
              </a:ext>
            </a:extLst>
          </p:cNvPr>
          <p:cNvSpPr txBox="1"/>
          <p:nvPr/>
        </p:nvSpPr>
        <p:spPr>
          <a:xfrm>
            <a:off x="7409576" y="1496370"/>
            <a:ext cx="30666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Chatbots have boosted customer satisfaction by 15%, reduced wait times and improved operational efficienc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486A44B-89FD-DC21-B9CF-D2D145B0389C}"/>
              </a:ext>
            </a:extLst>
          </p:cNvPr>
          <p:cNvSpPr txBox="1"/>
          <p:nvPr/>
        </p:nvSpPr>
        <p:spPr>
          <a:xfrm>
            <a:off x="323352" y="3470231"/>
            <a:ext cx="241018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Analyzes wait times, purchases and sentiment to optimize the park exper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69B313-D717-C539-7A9D-973F601702DF}"/>
              </a:ext>
            </a:extLst>
          </p:cNvPr>
          <p:cNvSpPr txBox="1"/>
          <p:nvPr/>
        </p:nvSpPr>
        <p:spPr>
          <a:xfrm>
            <a:off x="2989231" y="3490813"/>
            <a:ext cx="266876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Analyzes banking activities, and demographics to predict each customer’s future nee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767BBC-FB39-FBF6-535C-C5EE96A0AF75}"/>
              </a:ext>
            </a:extLst>
          </p:cNvPr>
          <p:cNvSpPr txBox="1"/>
          <p:nvPr/>
        </p:nvSpPr>
        <p:spPr>
          <a:xfrm>
            <a:off x="5962218" y="3490813"/>
            <a:ext cx="241018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Uses AI to generate alerts, personalize feeds, and create videos in response to a promp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73D04E-6B33-C894-C7A3-B1B8847DF917}"/>
              </a:ext>
            </a:extLst>
          </p:cNvPr>
          <p:cNvSpPr txBox="1"/>
          <p:nvPr/>
        </p:nvSpPr>
        <p:spPr>
          <a:xfrm>
            <a:off x="8942913" y="3490813"/>
            <a:ext cx="29682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Has increased click-through rates by 20% and improved brand perceptions by personalizing a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9C36FD-26C8-3FF2-932F-267FE77B2D00}"/>
              </a:ext>
            </a:extLst>
          </p:cNvPr>
          <p:cNvSpPr txBox="1"/>
          <p:nvPr/>
        </p:nvSpPr>
        <p:spPr>
          <a:xfrm>
            <a:off x="1439364" y="5236207"/>
            <a:ext cx="3144098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“Sparky” genAI assistants personalize shopping, adjusting pricing and creating customized home pages for each us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DBCE6D-6516-4D79-F9FE-3C6A5E6BFF6B}"/>
              </a:ext>
            </a:extLst>
          </p:cNvPr>
          <p:cNvSpPr txBox="1"/>
          <p:nvPr/>
        </p:nvSpPr>
        <p:spPr>
          <a:xfrm>
            <a:off x="4890299" y="5250169"/>
            <a:ext cx="2587359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Personalizes make-up and skin recommendations, leveraging AI + augmented re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6FF3BD-F2B4-B10F-C268-163BF0A172D6}"/>
              </a:ext>
            </a:extLst>
          </p:cNvPr>
          <p:cNvSpPr txBox="1"/>
          <p:nvPr/>
        </p:nvSpPr>
        <p:spPr>
          <a:xfrm>
            <a:off x="7784495" y="5250169"/>
            <a:ext cx="281664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Montserrat" pitchFamily="2" charset="77"/>
              </a:rPr>
              <a:t>Uses predictive analytics and AI to offer curated drops based on individual behavior and preferences</a:t>
            </a:r>
          </a:p>
        </p:txBody>
      </p:sp>
    </p:spTree>
    <p:extLst>
      <p:ext uri="{BB962C8B-B14F-4D97-AF65-F5344CB8AC3E}">
        <p14:creationId xmlns:p14="http://schemas.microsoft.com/office/powerpoint/2010/main" val="3790288554"/>
      </p:ext>
    </p:extLst>
  </p:cSld>
  <p:clrMapOvr>
    <a:masterClrMapping/>
  </p:clrMapOvr>
  <p:transition spd="slow"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E9FF65-25EB-67BE-EB90-E19559332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9E52790-3647-9687-25B4-7AD106AF8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/>
          <a:lstStyle/>
          <a:p>
            <a:fld id="{058DAC43-1CF5-B041-9EC6-C41F5829B3D8}" type="slidenum">
              <a:rPr lang="en-US" smtClean="0"/>
              <a:t>2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2C25E8-7E95-5FBC-7A0E-9200FA823E48}"/>
              </a:ext>
            </a:extLst>
          </p:cNvPr>
          <p:cNvSpPr txBox="1"/>
          <p:nvPr/>
        </p:nvSpPr>
        <p:spPr>
          <a:xfrm>
            <a:off x="2807854" y="2458252"/>
            <a:ext cx="7019637" cy="19414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THE RESULTS—LASTING SUCCESS AND GREATER COMPANY VALUE</a:t>
            </a:r>
          </a:p>
        </p:txBody>
      </p:sp>
    </p:spTree>
    <p:extLst>
      <p:ext uri="{BB962C8B-B14F-4D97-AF65-F5344CB8AC3E}">
        <p14:creationId xmlns:p14="http://schemas.microsoft.com/office/powerpoint/2010/main" val="3149553883"/>
      </p:ext>
    </p:extLst>
  </p:cSld>
  <p:clrMapOvr>
    <a:masterClrMapping/>
  </p:clrMapOvr>
  <p:transition spd="slow"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DFCAE-21E1-5D7A-EF12-72C2AD4252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878B5-2648-6B51-013A-2D5F885F9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 your revenu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46A9B7-AB84-F4D8-5C92-9A50F98E28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230C32-DC22-9162-3374-1EA1EF67AD52}"/>
              </a:ext>
            </a:extLst>
          </p:cNvPr>
          <p:cNvSpPr txBox="1"/>
          <p:nvPr/>
        </p:nvSpPr>
        <p:spPr>
          <a:xfrm>
            <a:off x="323352" y="1108620"/>
            <a:ext cx="368297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0188" indent="-230188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Montserrat" pitchFamily="2" charset="77"/>
              </a:rPr>
              <a:t>AI can help you address your customers’ needs more precisely by pulling the right levers for customers</a:t>
            </a:r>
          </a:p>
          <a:p>
            <a:pPr marL="230188" indent="-230188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" pitchFamily="2" charset="77"/>
              </a:rPr>
              <a:t>This will create more and more loyal customers who are more profitable than new customers, while continuing to funnel new ones your way</a:t>
            </a:r>
          </a:p>
        </p:txBody>
      </p:sp>
      <p:pic>
        <p:nvPicPr>
          <p:cNvPr id="104" name="Picture 2">
            <a:extLst>
              <a:ext uri="{FF2B5EF4-FFF2-40B4-BE49-F238E27FC236}">
                <a16:creationId xmlns:a16="http://schemas.microsoft.com/office/drawing/2014/main" id="{1E70B68D-37F2-4A4A-0145-08E62BC283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48" t="14890"/>
          <a:stretch/>
        </p:blipFill>
        <p:spPr bwMode="auto">
          <a:xfrm>
            <a:off x="5946493" y="2416670"/>
            <a:ext cx="6234762" cy="3863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5" name="Text Box 9">
            <a:extLst>
              <a:ext uri="{FF2B5EF4-FFF2-40B4-BE49-F238E27FC236}">
                <a16:creationId xmlns:a16="http://schemas.microsoft.com/office/drawing/2014/main" id="{A05D59B4-A8A4-42ED-3463-92A15D2FEF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4955" y="1791288"/>
            <a:ext cx="2053336" cy="331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404040"/>
                </a:solidFill>
                <a:latin typeface="Montserrat" pitchFamily="2" charset="77"/>
                <a:cs typeface="DIN-Bold"/>
                <a:sym typeface="Gill Sans"/>
              </a:rPr>
              <a:t>Relative importance</a:t>
            </a:r>
            <a:endParaRPr lang="en-GB" sz="1400" dirty="0">
              <a:solidFill>
                <a:srgbClr val="404040"/>
              </a:solidFill>
              <a:latin typeface="Montserrat" pitchFamily="2" charset="77"/>
              <a:cs typeface="DIN-Bold"/>
              <a:sym typeface="Gill Sans"/>
            </a:endParaRPr>
          </a:p>
        </p:txBody>
      </p:sp>
      <p:sp>
        <p:nvSpPr>
          <p:cNvPr id="106" name="Text Box 9">
            <a:extLst>
              <a:ext uri="{FF2B5EF4-FFF2-40B4-BE49-F238E27FC236}">
                <a16:creationId xmlns:a16="http://schemas.microsoft.com/office/drawing/2014/main" id="{81ECF9F2-8552-C48B-CDC0-37FAED4D0B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9874" y="1791288"/>
            <a:ext cx="1474653" cy="331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404040"/>
                </a:solidFill>
                <a:latin typeface="Montserrat" pitchFamily="2" charset="77"/>
                <a:cs typeface="DIN-Bold"/>
                <a:sym typeface="Gill Sans"/>
              </a:rPr>
              <a:t>Brand impact</a:t>
            </a:r>
            <a:endParaRPr lang="en-GB" sz="1400" dirty="0">
              <a:solidFill>
                <a:srgbClr val="404040"/>
              </a:solidFill>
              <a:latin typeface="Montserrat" pitchFamily="2" charset="77"/>
              <a:cs typeface="DIN-Bold"/>
              <a:sym typeface="Gill Sans"/>
            </a:endParaRPr>
          </a:p>
        </p:txBody>
      </p:sp>
      <p:sp>
        <p:nvSpPr>
          <p:cNvPr id="107" name="Text Box 9">
            <a:extLst>
              <a:ext uri="{FF2B5EF4-FFF2-40B4-BE49-F238E27FC236}">
                <a16:creationId xmlns:a16="http://schemas.microsoft.com/office/drawing/2014/main" id="{01AA53B1-056B-15CE-F9D2-0496D1EDC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8730" y="2197253"/>
            <a:ext cx="883144" cy="300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352F"/>
                </a:solidFill>
                <a:latin typeface="Montserrat" pitchFamily="2" charset="77"/>
                <a:cs typeface="DIN-Light"/>
                <a:sym typeface="Gill Sans"/>
              </a:rPr>
              <a:t>Brand A</a:t>
            </a:r>
            <a:endParaRPr lang="en-GB" sz="1200" b="1" dirty="0">
              <a:solidFill>
                <a:srgbClr val="FF352F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08" name="Text Box 9">
            <a:extLst>
              <a:ext uri="{FF2B5EF4-FFF2-40B4-BE49-F238E27FC236}">
                <a16:creationId xmlns:a16="http://schemas.microsoft.com/office/drawing/2014/main" id="{3B70B152-6702-A23C-E6FD-425215A490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77222" y="2197253"/>
            <a:ext cx="881542" cy="300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1BA220"/>
                </a:solidFill>
                <a:latin typeface="Montserrat" pitchFamily="2" charset="77"/>
                <a:cs typeface="DIN-Light"/>
                <a:sym typeface="Gill Sans"/>
              </a:rPr>
              <a:t>Brand B</a:t>
            </a:r>
            <a:endParaRPr lang="en-GB" sz="1200" b="1" dirty="0">
              <a:solidFill>
                <a:srgbClr val="1BA22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09" name="Text Box 9">
            <a:extLst>
              <a:ext uri="{FF2B5EF4-FFF2-40B4-BE49-F238E27FC236}">
                <a16:creationId xmlns:a16="http://schemas.microsoft.com/office/drawing/2014/main" id="{738B54A6-01FD-A6A2-D23C-E26A9DA402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0360" y="2595060"/>
            <a:ext cx="990545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Is a Leader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0" name="Text Box 9">
            <a:extLst>
              <a:ext uri="{FF2B5EF4-FFF2-40B4-BE49-F238E27FC236}">
                <a16:creationId xmlns:a16="http://schemas.microsoft.com/office/drawing/2014/main" id="{75A5AB99-0F8E-C3A1-3B70-BF3219C81D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9916" y="2976023"/>
            <a:ext cx="1440989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Quality of service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1" name="Text Box 9">
            <a:extLst>
              <a:ext uri="{FF2B5EF4-FFF2-40B4-BE49-F238E27FC236}">
                <a16:creationId xmlns:a16="http://schemas.microsoft.com/office/drawing/2014/main" id="{4EE1A1BB-B30C-B4BD-E2DA-FAD2C2983E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1900" y="3335822"/>
            <a:ext cx="1449005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Service Coverage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2" name="Text Box 9">
            <a:extLst>
              <a:ext uri="{FF2B5EF4-FFF2-40B4-BE49-F238E27FC236}">
                <a16:creationId xmlns:a16="http://schemas.microsoft.com/office/drawing/2014/main" id="{D4DC949A-B844-9184-0285-25039B1D30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558" y="3716786"/>
            <a:ext cx="1205347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Cool Features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3" name="Text Box 9">
            <a:extLst>
              <a:ext uri="{FF2B5EF4-FFF2-40B4-BE49-F238E27FC236}">
                <a16:creationId xmlns:a16="http://schemas.microsoft.com/office/drawing/2014/main" id="{C5BEA4EA-ED9F-0181-C2A2-17E58D66E1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9995" y="4066003"/>
            <a:ext cx="952074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Data Plan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4" name="Text Box 9">
            <a:extLst>
              <a:ext uri="{FF2B5EF4-FFF2-40B4-BE49-F238E27FC236}">
                <a16:creationId xmlns:a16="http://schemas.microsoft.com/office/drawing/2014/main" id="{53ECA510-27B5-8E23-DD6C-911E0FBE1B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2270" y="4394052"/>
            <a:ext cx="1038635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Price/Value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5" name="Text Box 9">
            <a:extLst>
              <a:ext uri="{FF2B5EF4-FFF2-40B4-BE49-F238E27FC236}">
                <a16:creationId xmlns:a16="http://schemas.microsoft.com/office/drawing/2014/main" id="{9E3D6728-65F7-9063-1C11-D5FA026CF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3504" y="4775015"/>
            <a:ext cx="1447401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Handsets offered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6" name="Text Box 9">
            <a:extLst>
              <a:ext uri="{FF2B5EF4-FFF2-40B4-BE49-F238E27FC236}">
                <a16:creationId xmlns:a16="http://schemas.microsoft.com/office/drawing/2014/main" id="{A4675912-2011-9EFE-1D12-6D4212F7DF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6184" y="5134814"/>
            <a:ext cx="1724721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Existing Relationship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7" name="Text Box 9">
            <a:extLst>
              <a:ext uri="{FF2B5EF4-FFF2-40B4-BE49-F238E27FC236}">
                <a16:creationId xmlns:a16="http://schemas.microsoft.com/office/drawing/2014/main" id="{28BD749C-5A08-466A-2A6E-85FEDB10C7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00761" y="5515777"/>
            <a:ext cx="1630143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Third Party Reviews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8" name="Text Box 9">
            <a:extLst>
              <a:ext uri="{FF2B5EF4-FFF2-40B4-BE49-F238E27FC236}">
                <a16:creationId xmlns:a16="http://schemas.microsoft.com/office/drawing/2014/main" id="{7672AA70-CEE5-C037-8639-D4C3137A7F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1844" y="5864995"/>
            <a:ext cx="1460225" cy="285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algn="r"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Montserrat" pitchFamily="2" charset="77"/>
                <a:cs typeface="DIN-Light"/>
                <a:sym typeface="Gill Sans"/>
              </a:rPr>
              <a:t>Customer service</a:t>
            </a:r>
            <a:endParaRPr lang="en-GB" sz="1100" dirty="0">
              <a:solidFill>
                <a:srgbClr val="000000"/>
              </a:solidFill>
              <a:latin typeface="Montserrat" pitchFamily="2" charset="77"/>
              <a:cs typeface="DIN-Light"/>
              <a:sym typeface="Gill Sans"/>
            </a:endParaRPr>
          </a:p>
        </p:txBody>
      </p:sp>
      <p:sp>
        <p:nvSpPr>
          <p:cNvPr id="119" name="Text Box 9">
            <a:extLst>
              <a:ext uri="{FF2B5EF4-FFF2-40B4-BE49-F238E27FC236}">
                <a16:creationId xmlns:a16="http://schemas.microsoft.com/office/drawing/2014/main" id="{3A667B23-2C9B-B52F-05AC-531F8681F4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6616" y="1488072"/>
            <a:ext cx="2264933" cy="331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404040"/>
                </a:solidFill>
                <a:latin typeface="Montserrat" pitchFamily="2" charset="77"/>
                <a:cs typeface="DIN-Bold"/>
                <a:sym typeface="Gill Sans"/>
              </a:rPr>
              <a:t>Brand Driver Analysis</a:t>
            </a:r>
            <a:endParaRPr lang="en-GB" sz="1400" b="1" dirty="0">
              <a:solidFill>
                <a:srgbClr val="404040"/>
              </a:solidFill>
              <a:latin typeface="Montserrat" pitchFamily="2" charset="77"/>
              <a:cs typeface="DIN-Bold"/>
              <a:sym typeface="Gill Sans"/>
            </a:endParaRPr>
          </a:p>
        </p:txBody>
      </p:sp>
      <p:sp>
        <p:nvSpPr>
          <p:cNvPr id="120" name="Text Box 9">
            <a:extLst>
              <a:ext uri="{FF2B5EF4-FFF2-40B4-BE49-F238E27FC236}">
                <a16:creationId xmlns:a16="http://schemas.microsoft.com/office/drawing/2014/main" id="{FCD0CD0C-B5B4-31CF-F1E8-49B1762C6C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33098" y="1013104"/>
            <a:ext cx="4311968" cy="362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5039" tIns="57520" rIns="115039" bIns="57520">
            <a:spAutoFit/>
          </a:bodyPr>
          <a:lstStyle>
            <a:lvl1pPr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1pPr>
            <a:lvl2pPr marL="742950" indent="-28575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2pPr>
            <a:lvl3pPr marL="11430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3pPr>
            <a:lvl4pPr marL="16002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4pPr>
            <a:lvl5pPr marL="2057400" indent="-228600" defTabSz="966788" eaLnBrk="0" hangingPunct="0"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DIN-Regular" charset="0"/>
                <a:ea typeface="MS PGothic" pitchFamily="34" charset="-128"/>
              </a:defRPr>
            </a:lvl9pPr>
          </a:lstStyle>
          <a:p>
            <a:pPr defTabSz="72499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404040"/>
                </a:solidFill>
                <a:latin typeface="Montserrat" pitchFamily="2" charset="77"/>
                <a:cs typeface="DIN-Bold"/>
                <a:sym typeface="Gill Sans"/>
              </a:rPr>
              <a:t>Measure </a:t>
            </a:r>
            <a:r>
              <a:rPr lang="en-US" sz="1600" b="1" dirty="0">
                <a:solidFill>
                  <a:schemeClr val="tx2"/>
                </a:solidFill>
                <a:latin typeface="Montserrat" pitchFamily="2" charset="77"/>
                <a:cs typeface="DIN-Bold"/>
                <a:sym typeface="Gill Sans"/>
              </a:rPr>
              <a:t>How</a:t>
            </a:r>
            <a:r>
              <a:rPr lang="en-US" sz="1600" b="1" dirty="0">
                <a:solidFill>
                  <a:srgbClr val="404040"/>
                </a:solidFill>
                <a:latin typeface="Montserrat" pitchFamily="2" charset="77"/>
                <a:cs typeface="DIN-Bold"/>
                <a:sym typeface="Gill Sans"/>
              </a:rPr>
              <a:t> the brand creates value</a:t>
            </a:r>
            <a:endParaRPr lang="en-GB" sz="1600" b="1" dirty="0">
              <a:solidFill>
                <a:srgbClr val="404040"/>
              </a:solidFill>
              <a:latin typeface="Montserrat" pitchFamily="2" charset="77"/>
              <a:cs typeface="DIN-Bold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775753947"/>
      </p:ext>
    </p:extLst>
  </p:cSld>
  <p:clrMapOvr>
    <a:masterClrMapping/>
  </p:clrMapOvr>
  <p:transition spd="slow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6BD3A-4B4E-5F44-5285-2509A067E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A9C4A-3FED-B873-1272-7A52DFD94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sult will be an increase in your shareholder valu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7FE663-B4FC-769A-22A4-87329692F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48CB7-BAF0-0C4F-9947-604B3D4BE237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778794-EE35-8DB3-5413-CCE9F7331FD3}"/>
              </a:ext>
            </a:extLst>
          </p:cNvPr>
          <p:cNvSpPr txBox="1"/>
          <p:nvPr/>
        </p:nvSpPr>
        <p:spPr>
          <a:xfrm>
            <a:off x="323352" y="913907"/>
            <a:ext cx="114224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600" dirty="0">
                <a:solidFill>
                  <a:srgbClr val="000000"/>
                </a:solidFill>
                <a:effectLst/>
                <a:latin typeface="Montserrat" pitchFamily="2" charset="77"/>
              </a:rPr>
              <a:t>Using AI to improve your brand experience will grow revenues and profits, and increase your financial val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224607-E0CE-CD14-7733-870E8DC815C1}"/>
              </a:ext>
            </a:extLst>
          </p:cNvPr>
          <p:cNvSpPr txBox="1"/>
          <p:nvPr/>
        </p:nvSpPr>
        <p:spPr>
          <a:xfrm>
            <a:off x="3253111" y="1649860"/>
            <a:ext cx="6179988" cy="2951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>
                <a:latin typeface="Montserrat" pitchFamily="2" charset="77"/>
              </a:rPr>
              <a:t>Companies with strong brands outperform the market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66B1053-92D0-9E1F-EF91-26FDDE664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752" y="2062716"/>
            <a:ext cx="7616142" cy="4174995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8788964"/>
      </p:ext>
    </p:extLst>
  </p:cSld>
  <p:clrMapOvr>
    <a:masterClrMapping/>
  </p:clrMapOvr>
  <p:transition spd="slow"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4101135-493F-8043-BA66-6C1199788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59043" y="2761660"/>
            <a:ext cx="5886485" cy="133468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827C0E-5AAE-F447-B8F4-005E8B8FFA68}"/>
              </a:ext>
            </a:extLst>
          </p:cNvPr>
          <p:cNvSpPr txBox="1"/>
          <p:nvPr/>
        </p:nvSpPr>
        <p:spPr>
          <a:xfrm>
            <a:off x="156117" y="6145809"/>
            <a:ext cx="3479180" cy="5232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Montserrat" pitchFamily="2" charset="77"/>
              </a:rPr>
              <a:t>Joanna.Seddon@presciant.com</a:t>
            </a:r>
          </a:p>
          <a:p>
            <a:pPr algn="l"/>
            <a:r>
              <a:rPr lang="en-US" sz="1400" dirty="0">
                <a:solidFill>
                  <a:schemeClr val="bg1"/>
                </a:solidFill>
                <a:latin typeface="Montserrat" pitchFamily="2" charset="77"/>
              </a:rPr>
              <a:t>Nikhil.Gharekhan@presciant.com</a:t>
            </a:r>
          </a:p>
        </p:txBody>
      </p:sp>
    </p:spTree>
    <p:extLst>
      <p:ext uri="{BB962C8B-B14F-4D97-AF65-F5344CB8AC3E}">
        <p14:creationId xmlns:p14="http://schemas.microsoft.com/office/powerpoint/2010/main" val="34830877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8A631B-5C13-6446-AF2C-D7452F73AF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fontAlgn="base">
              <a:lnSpc>
                <a:spcPts val="4000"/>
              </a:lnSpc>
              <a:spcBef>
                <a:spcPts val="0"/>
              </a:spcBef>
              <a:spcAft>
                <a:spcPts val="4000"/>
              </a:spcAft>
            </a:pPr>
            <a:r>
              <a:rPr lang="en-US" dirty="0"/>
              <a:t>What we believe…</a:t>
            </a:r>
            <a:br>
              <a:rPr lang="en-US" dirty="0"/>
            </a:br>
            <a:r>
              <a:rPr lang="en-US" dirty="0">
                <a:solidFill>
                  <a:schemeClr val="accent4"/>
                </a:solidFill>
              </a:rPr>
              <a:t>Brand is a source of financial value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whose potential is untapped</a:t>
            </a:r>
          </a:p>
        </p:txBody>
      </p:sp>
    </p:spTree>
    <p:extLst>
      <p:ext uri="{BB962C8B-B14F-4D97-AF65-F5344CB8AC3E}">
        <p14:creationId xmlns:p14="http://schemas.microsoft.com/office/powerpoint/2010/main" val="2547628259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8A631B-5C13-6446-AF2C-D7452F73AF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r>
              <a:rPr lang="en-US" dirty="0">
                <a:solidFill>
                  <a:srgbClr val="FEFFFE"/>
                </a:solidFill>
              </a:rPr>
              <a:t>What Presciant stands for…</a:t>
            </a:r>
          </a:p>
          <a:p>
            <a:r>
              <a:rPr lang="en-US" sz="1800" spc="0" dirty="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chemeClr val="accent4"/>
                </a:solidFill>
              </a:rPr>
              <a:t>We help companies maximize the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power of their brands to gain a financial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edge over competitors, &amp; drive revenue,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profit &amp; business value growth</a:t>
            </a:r>
          </a:p>
        </p:txBody>
      </p:sp>
    </p:spTree>
    <p:extLst>
      <p:ext uri="{BB962C8B-B14F-4D97-AF65-F5344CB8AC3E}">
        <p14:creationId xmlns:p14="http://schemas.microsoft.com/office/powerpoint/2010/main" val="408692274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C8D1D-7F4C-2A2E-3317-34D7B0CFB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B9E9034-D8D4-8250-4AE9-9E2FD8BF2A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3349" y="6531036"/>
            <a:ext cx="803365" cy="210680"/>
          </a:xfrm>
        </p:spPr>
        <p:txBody>
          <a:bodyPr/>
          <a:lstStyle/>
          <a:p>
            <a:fld id="{058DAC43-1CF5-B041-9EC6-C41F5829B3D8}" type="slidenum">
              <a:rPr lang="en-US" smtClean="0"/>
              <a:t>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DAA0F8-71DC-4F29-3FAB-6505FCBF8DB3}"/>
              </a:ext>
            </a:extLst>
          </p:cNvPr>
          <p:cNvSpPr txBox="1"/>
          <p:nvPr/>
        </p:nvSpPr>
        <p:spPr>
          <a:xfrm>
            <a:off x="2807854" y="3165763"/>
            <a:ext cx="7019637" cy="526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  <a:latin typeface="Montserrat" pitchFamily="2" charset="77"/>
              </a:rPr>
              <a:t>BRAND MATTERS</a:t>
            </a:r>
          </a:p>
        </p:txBody>
      </p:sp>
    </p:spTree>
    <p:extLst>
      <p:ext uri="{BB962C8B-B14F-4D97-AF65-F5344CB8AC3E}">
        <p14:creationId xmlns:p14="http://schemas.microsoft.com/office/powerpoint/2010/main" val="1360202719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826A55-60F0-B938-1F4F-966486048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D2695041-1F36-7D01-12EC-94BBC38DC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s shape customer behavi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20A2A9-3594-F399-E335-7E58A90D5C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848CB7-BAF0-0C4F-9947-604B3D4BE23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7C4991-A676-E7ED-D0EF-15D3DB75EDEB}"/>
              </a:ext>
            </a:extLst>
          </p:cNvPr>
          <p:cNvGrpSpPr/>
          <p:nvPr/>
        </p:nvGrpSpPr>
        <p:grpSpPr>
          <a:xfrm>
            <a:off x="952500" y="971551"/>
            <a:ext cx="4743450" cy="3656195"/>
            <a:chOff x="1051089" y="1230598"/>
            <a:chExt cx="7672287" cy="5408327"/>
          </a:xfrm>
        </p:grpSpPr>
        <p:pic>
          <p:nvPicPr>
            <p:cNvPr id="7" name="Content Placeholder 6" descr="brain">
              <a:extLst>
                <a:ext uri="{FF2B5EF4-FFF2-40B4-BE49-F238E27FC236}">
                  <a16:creationId xmlns:a16="http://schemas.microsoft.com/office/drawing/2014/main" id="{4817C691-E511-3BD8-21E0-06956349BA6E}"/>
                </a:ext>
              </a:extLst>
            </p:cNvPr>
            <p:cNvPicPr>
              <a:picLocks noGrp="1" noChangeAspect="1" noChangeArrowheads="1"/>
            </p:cNvPicPr>
            <p:nvPr>
              <p:ph sz="half" idx="4294967295"/>
            </p:nvPr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084832" y="2474913"/>
              <a:ext cx="5951538" cy="4164012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8" name="Picture 9" descr="cupboard_Coke">
              <a:extLst>
                <a:ext uri="{FF2B5EF4-FFF2-40B4-BE49-F238E27FC236}">
                  <a16:creationId xmlns:a16="http://schemas.microsoft.com/office/drawing/2014/main" id="{54F176B0-0C4F-60C3-1F13-A3E7FD6E4A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1089" y="1230598"/>
              <a:ext cx="7672287" cy="3823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98A1876-091E-F26E-5E0B-D6FFC6F9EA25}"/>
              </a:ext>
            </a:extLst>
          </p:cNvPr>
          <p:cNvSpPr txBox="1"/>
          <p:nvPr/>
        </p:nvSpPr>
        <p:spPr>
          <a:xfrm>
            <a:off x="6667500" y="1055551"/>
            <a:ext cx="48006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ontserrat" pitchFamily="2" charset="77"/>
              </a:rPr>
              <a:t>How a brand works: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latin typeface="Montserrat" pitchFamily="2" charset="77"/>
              </a:rPr>
              <a:t>Creates 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set of associations and an emotional relationship with a company or product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Which leads people to prefer it over competitors’ product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Drives their choice and purchase decision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And generates an additional flow of sales and profi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129731-5296-7BAF-20C7-00AF4271C988}"/>
              </a:ext>
            </a:extLst>
          </p:cNvPr>
          <p:cNvSpPr txBox="1"/>
          <p:nvPr/>
        </p:nvSpPr>
        <p:spPr>
          <a:xfrm>
            <a:off x="323352" y="4856007"/>
            <a:ext cx="11676970" cy="125183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r>
              <a:rPr lang="en-US" sz="1400" i="1" dirty="0">
                <a:latin typeface="Montserrat" pitchFamily="2" charset="77"/>
              </a:rPr>
              <a:t>“The reputations of the most valuable brands are built on promises which have a higher purpose. They go beyond the product, beyond the category, to stand for a universal human idea. The unique power of brand lies in its ability to transfer loyalty across products, service and categories.”</a:t>
            </a:r>
          </a:p>
          <a:p>
            <a:endParaRPr lang="en-US" sz="1400" i="1" dirty="0">
              <a:latin typeface="Montserrat" pitchFamily="2" charset="77"/>
            </a:endParaRPr>
          </a:p>
          <a:p>
            <a:r>
              <a:rPr lang="en-US" sz="1400" dirty="0">
                <a:latin typeface="Montserrat" pitchFamily="2" charset="77"/>
              </a:rPr>
              <a:t>- The Brand in the Boardroom, Joanna Seddon</a:t>
            </a:r>
          </a:p>
        </p:txBody>
      </p:sp>
    </p:spTree>
    <p:extLst>
      <p:ext uri="{BB962C8B-B14F-4D97-AF65-F5344CB8AC3E}">
        <p14:creationId xmlns:p14="http://schemas.microsoft.com/office/powerpoint/2010/main" val="3337227247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1203" name="Rectangle 3">
            <a:extLst>
              <a:ext uri="{FF2B5EF4-FFF2-40B4-BE49-F238E27FC236}">
                <a16:creationId xmlns:a16="http://schemas.microsoft.com/office/drawing/2014/main" id="{57950277-7190-4FAC-299D-D614962C65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Brand drives a price or volume premium and sometimes both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8BE74931-4DA5-6B15-46A4-959942D91A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857250" eaLnBrk="0" fontAlgn="base" hangingPunct="0">
              <a:spcBef>
                <a:spcPct val="0"/>
              </a:spcBef>
              <a:spcAft>
                <a:spcPct val="0"/>
              </a:spcAft>
            </a:pPr>
            <a:fld id="{49503E1C-6BAB-5B45-8E4A-2C535E352E8C}" type="slidenum">
              <a:rPr lang="en-US" altLang="en-US">
                <a:solidFill>
                  <a:srgbClr val="004D00"/>
                </a:solidFill>
                <a:latin typeface="Arial" panose="020B0604020202020204" pitchFamily="34" charset="0"/>
              </a:rPr>
              <a:pPr defTabSz="857250"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 dirty="0">
              <a:solidFill>
                <a:srgbClr val="004D00"/>
              </a:solidFill>
              <a:latin typeface="Arial" panose="020B0604020202020204" pitchFamily="34" charset="0"/>
            </a:endParaRPr>
          </a:p>
        </p:txBody>
      </p:sp>
      <p:sp>
        <p:nvSpPr>
          <p:cNvPr id="1971202" name="Rectangle 2">
            <a:extLst>
              <a:ext uri="{FF2B5EF4-FFF2-40B4-BE49-F238E27FC236}">
                <a16:creationId xmlns:a16="http://schemas.microsoft.com/office/drawing/2014/main" id="{1B0B45D5-2813-EF6A-1515-F9791D18C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063" y="2222005"/>
            <a:ext cx="1735336" cy="118020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lg" len="med"/>
                <a:tailEnd type="none" w="lg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85725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004D00"/>
              </a:solidFill>
              <a:latin typeface="Arial" panose="020B0604020202020204" pitchFamily="34" charset="0"/>
            </a:endParaRPr>
          </a:p>
        </p:txBody>
      </p:sp>
      <p:pic>
        <p:nvPicPr>
          <p:cNvPr id="1971205" name="Picture 5">
            <a:hlinkClick r:id="rId2"/>
            <a:extLst>
              <a:ext uri="{FF2B5EF4-FFF2-40B4-BE49-F238E27FC236}">
                <a16:creationId xmlns:a16="http://schemas.microsoft.com/office/drawing/2014/main" id="{84483BB4-1468-A87D-D5AF-122338D81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2727" y="4891981"/>
            <a:ext cx="1930301" cy="394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71206" name="Text Box 6">
            <a:extLst>
              <a:ext uri="{FF2B5EF4-FFF2-40B4-BE49-F238E27FC236}">
                <a16:creationId xmlns:a16="http://schemas.microsoft.com/office/drawing/2014/main" id="{4F138329-B014-2FC9-F1F9-C85F4A6397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0919" y="1385591"/>
            <a:ext cx="6471687" cy="4115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620" tIns="45310" rIns="90620" bIns="45310"/>
          <a:lstStyle>
            <a:lvl1pPr algn="l">
              <a:spcBef>
                <a:spcPct val="20000"/>
              </a:spcBef>
              <a:buClr>
                <a:schemeClr val="bg2"/>
              </a:buClr>
              <a:buChar char="•"/>
              <a:defRPr sz="2400">
                <a:solidFill>
                  <a:srgbClr val="333333"/>
                </a:solidFill>
                <a:latin typeface="Verdana" panose="020B0604030504040204" pitchFamily="34" charset="0"/>
              </a:defRPr>
            </a:lvl1pPr>
            <a:lvl2pPr marL="682625" indent="-277813" algn="l">
              <a:spcBef>
                <a:spcPct val="20000"/>
              </a:spcBef>
              <a:buSzPct val="78000"/>
              <a:buFont typeface="Wingdings" pitchFamily="2" charset="2"/>
              <a:buChar char="Ä"/>
              <a:defRPr sz="2000">
                <a:solidFill>
                  <a:srgbClr val="000000"/>
                </a:solidFill>
                <a:latin typeface="Verdana" panose="020B0604030504040204" pitchFamily="34" charset="0"/>
              </a:defRPr>
            </a:lvl2pPr>
            <a:lvl3pPr marL="1025525" indent="-228600" algn="l">
              <a:spcBef>
                <a:spcPct val="20000"/>
              </a:spcBef>
              <a:buSzPct val="78000"/>
              <a:buChar char="-"/>
              <a:defRPr>
                <a:solidFill>
                  <a:srgbClr val="000000"/>
                </a:solidFill>
                <a:latin typeface="Verdana" panose="020B0604030504040204" pitchFamily="34" charset="0"/>
              </a:defRPr>
            </a:lvl3pPr>
            <a:lvl4pPr marL="1368425" indent="-228600" algn="l">
              <a:spcBef>
                <a:spcPct val="20000"/>
              </a:spcBef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4pPr>
            <a:lvl5pPr marL="1711325" indent="-228600" algn="l">
              <a:spcBef>
                <a:spcPct val="20000"/>
              </a:spcBef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5pPr>
            <a:lvl6pPr marL="2168525" indent="-228600" eaLnBrk="0" fontAlgn="base" hangingPunct="0">
              <a:spcBef>
                <a:spcPct val="20000"/>
              </a:spcBef>
              <a:spcAft>
                <a:spcPct val="0"/>
              </a:spcAft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6pPr>
            <a:lvl7pPr marL="2625725" indent="-228600" eaLnBrk="0" fontAlgn="base" hangingPunct="0">
              <a:spcBef>
                <a:spcPct val="20000"/>
              </a:spcBef>
              <a:spcAft>
                <a:spcPct val="0"/>
              </a:spcAft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7pPr>
            <a:lvl8pPr marL="3082925" indent="-228600" eaLnBrk="0" fontAlgn="base" hangingPunct="0">
              <a:spcBef>
                <a:spcPct val="20000"/>
              </a:spcBef>
              <a:spcAft>
                <a:spcPct val="0"/>
              </a:spcAft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8pPr>
            <a:lvl9pPr marL="3540125" indent="-228600" eaLnBrk="0" fontAlgn="base" hangingPunct="0">
              <a:spcBef>
                <a:spcPct val="20000"/>
              </a:spcBef>
              <a:spcAft>
                <a:spcPct val="0"/>
              </a:spcAft>
              <a:buSzPct val="78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Verdana" panose="020B0604030504040204" pitchFamily="34" charset="0"/>
              </a:defRPr>
            </a:lvl9pPr>
          </a:lstStyle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Positive</a:t>
            </a:r>
            <a:r>
              <a:rPr lang="en-US" altLang="en-US" sz="1688" dirty="0">
                <a:latin typeface="Montserrat" pitchFamily="2" charset="77"/>
              </a:rPr>
              <a:t> price premium and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positive</a:t>
            </a:r>
            <a:r>
              <a:rPr lang="en-US" altLang="en-US" sz="1688" dirty="0">
                <a:latin typeface="Montserrat" pitchFamily="2" charset="77"/>
              </a:rPr>
              <a:t> volume premium</a:t>
            </a: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endParaRPr lang="en-US" altLang="en-US" sz="1688" b="1" i="1" dirty="0">
              <a:latin typeface="Montserrat" pitchFamily="2" charset="77"/>
            </a:endParaRP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endParaRPr lang="en-US" altLang="en-US" sz="1688" b="1" i="1" dirty="0">
              <a:solidFill>
                <a:srgbClr val="FF0000"/>
              </a:solidFill>
              <a:latin typeface="Montserrat" pitchFamily="2" charset="77"/>
            </a:endParaRP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Negative </a:t>
            </a:r>
            <a:r>
              <a:rPr lang="en-US" altLang="en-US" sz="1688" dirty="0">
                <a:latin typeface="Montserrat" pitchFamily="2" charset="77"/>
              </a:rPr>
              <a:t>price premium more than offset by a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positive</a:t>
            </a:r>
            <a:r>
              <a:rPr lang="en-US" altLang="en-US" sz="1688" dirty="0">
                <a:latin typeface="Montserrat" pitchFamily="2" charset="77"/>
              </a:rPr>
              <a:t> volume premium</a:t>
            </a: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endParaRPr lang="en-US" altLang="en-US" sz="1688" dirty="0">
              <a:latin typeface="Montserrat" pitchFamily="2" charset="77"/>
            </a:endParaRP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r>
              <a:rPr lang="en-US" altLang="en-US" sz="1688" dirty="0">
                <a:latin typeface="Montserrat" pitchFamily="2" charset="77"/>
              </a:rPr>
              <a:t>Highly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positive</a:t>
            </a:r>
            <a:r>
              <a:rPr lang="en-US" altLang="en-US" sz="1688" dirty="0">
                <a:latin typeface="Montserrat" pitchFamily="2" charset="77"/>
              </a:rPr>
              <a:t> price premium offsetting a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negative </a:t>
            </a:r>
            <a:r>
              <a:rPr lang="en-US" altLang="en-US" sz="1688" dirty="0">
                <a:latin typeface="Montserrat" pitchFamily="2" charset="77"/>
              </a:rPr>
              <a:t>volume premium</a:t>
            </a: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endParaRPr lang="en-US" altLang="en-US" sz="1688" i="1" dirty="0">
              <a:latin typeface="Montserrat" pitchFamily="2" charset="77"/>
            </a:endParaRP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endParaRPr lang="en-US" altLang="en-US" sz="1688" i="1" dirty="0">
              <a:latin typeface="Montserrat" pitchFamily="2" charset="77"/>
            </a:endParaRPr>
          </a:p>
          <a:p>
            <a:pPr defTabSz="857250" fontAlgn="base">
              <a:spcBef>
                <a:spcPct val="30000"/>
              </a:spcBef>
              <a:spcAft>
                <a:spcPct val="0"/>
              </a:spcAft>
              <a:buClr>
                <a:srgbClr val="9FCF30"/>
              </a:buClr>
              <a:buNone/>
            </a:pPr>
            <a:r>
              <a:rPr lang="en-US" altLang="en-US" sz="1688" dirty="0">
                <a:latin typeface="Montserrat" pitchFamily="2" charset="77"/>
              </a:rPr>
              <a:t>Has been targeting a broader consumer segment in order to generate further growth; the brand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lowered its price premium </a:t>
            </a:r>
            <a:r>
              <a:rPr lang="en-US" altLang="en-US" sz="1688" dirty="0">
                <a:latin typeface="Montserrat" pitchFamily="2" charset="77"/>
              </a:rPr>
              <a:t>through lower-end product introductions, thereby generating a </a:t>
            </a:r>
            <a:r>
              <a:rPr lang="en-US" altLang="en-US" sz="1688" b="1" i="1" dirty="0">
                <a:solidFill>
                  <a:srgbClr val="FF0000"/>
                </a:solidFill>
                <a:latin typeface="Montserrat" pitchFamily="2" charset="77"/>
              </a:rPr>
              <a:t>higher volume premium</a:t>
            </a:r>
          </a:p>
        </p:txBody>
      </p:sp>
      <p:pic>
        <p:nvPicPr>
          <p:cNvPr id="1971208" name="Picture 55" descr="C:\Documents and Settings\walshep\My Documents\CLIENTS\BRANDZ 2009\Asia Trip Feb 09\Logos\Coca-Cola_logo.svg.png">
            <a:extLst>
              <a:ext uri="{FF2B5EF4-FFF2-40B4-BE49-F238E27FC236}">
                <a16:creationId xmlns:a16="http://schemas.microsoft.com/office/drawing/2014/main" id="{1A003A75-092C-6B78-A398-36B910E643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4013" y="1360289"/>
            <a:ext cx="1489769" cy="48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1209" name="Picture 9">
            <a:extLst>
              <a:ext uri="{FF2B5EF4-FFF2-40B4-BE49-F238E27FC236}">
                <a16:creationId xmlns:a16="http://schemas.microsoft.com/office/drawing/2014/main" id="{C9E4956C-9EB5-CB5C-BE73-20E851709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2341" y="2275583"/>
            <a:ext cx="1781472" cy="729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71210" name="Picture 10">
            <a:extLst>
              <a:ext uri="{FF2B5EF4-FFF2-40B4-BE49-F238E27FC236}">
                <a16:creationId xmlns:a16="http://schemas.microsoft.com/office/drawing/2014/main" id="{0230F719-3876-E633-AB53-E44301AE5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8161" y="3384352"/>
            <a:ext cx="1577578" cy="47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lg" len="med"/>
                <a:tailEnd type="none" w="lg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1A4D4-1952-43C2-D8D4-739355000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1203" name="Rectangle 3">
            <a:extLst>
              <a:ext uri="{FF2B5EF4-FFF2-40B4-BE49-F238E27FC236}">
                <a16:creationId xmlns:a16="http://schemas.microsoft.com/office/drawing/2014/main" id="{4B2ECCDD-D171-0610-BE0F-0AE6211B85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Brands shift the demand curve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48B269C2-2F86-C78D-3156-5F0CEA046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857250" eaLnBrk="0" fontAlgn="base" hangingPunct="0">
              <a:spcBef>
                <a:spcPct val="0"/>
              </a:spcBef>
              <a:spcAft>
                <a:spcPct val="0"/>
              </a:spcAft>
            </a:pPr>
            <a:fld id="{49503E1C-6BAB-5B45-8E4A-2C535E352E8C}" type="slidenum">
              <a:rPr lang="en-US" altLang="en-US">
                <a:solidFill>
                  <a:srgbClr val="004D00"/>
                </a:solidFill>
                <a:latin typeface="Arial" panose="020B0604020202020204" pitchFamily="34" charset="0"/>
              </a:rPr>
              <a:pPr defTabSz="857250"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 dirty="0">
              <a:solidFill>
                <a:srgbClr val="004D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8" name="Object 3">
            <a:extLst>
              <a:ext uri="{FF2B5EF4-FFF2-40B4-BE49-F238E27FC236}">
                <a16:creationId xmlns:a16="http://schemas.microsoft.com/office/drawing/2014/main" id="{C756A837-6C88-6E6D-28C1-6F058F8A66D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0725790"/>
              </p:ext>
            </p:extLst>
          </p:nvPr>
        </p:nvGraphicFramePr>
        <p:xfrm>
          <a:off x="1229151" y="1789113"/>
          <a:ext cx="7774752" cy="3898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Oval 8">
            <a:extLst>
              <a:ext uri="{FF2B5EF4-FFF2-40B4-BE49-F238E27FC236}">
                <a16:creationId xmlns:a16="http://schemas.microsoft.com/office/drawing/2014/main" id="{51CB8EF2-0919-9C10-3BAF-3EBBFF1E0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5901" y="4448521"/>
            <a:ext cx="129480" cy="144363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85725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4D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4" name="Text Box 9">
            <a:extLst>
              <a:ext uri="{FF2B5EF4-FFF2-40B4-BE49-F238E27FC236}">
                <a16:creationId xmlns:a16="http://schemas.microsoft.com/office/drawing/2014/main" id="{431B439C-DCC8-9D46-77B2-0CC3789BF0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7781" y="5444191"/>
            <a:ext cx="708795" cy="337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solidFill>
                  <a:srgbClr val="000000"/>
                </a:solidFill>
                <a:latin typeface="Montserrat" pitchFamily="2" charset="77"/>
              </a:rPr>
              <a:t>8,812</a:t>
            </a:r>
          </a:p>
        </p:txBody>
      </p:sp>
      <p:sp>
        <p:nvSpPr>
          <p:cNvPr id="28" name="Oval 12">
            <a:extLst>
              <a:ext uri="{FF2B5EF4-FFF2-40B4-BE49-F238E27FC236}">
                <a16:creationId xmlns:a16="http://schemas.microsoft.com/office/drawing/2014/main" id="{A8E45775-0687-FA03-2F3E-4A0D29CF0C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7603" y="2449305"/>
            <a:ext cx="195466" cy="19983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/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06364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29" name="Text Box 13">
            <a:extLst>
              <a:ext uri="{FF2B5EF4-FFF2-40B4-BE49-F238E27FC236}">
                <a16:creationId xmlns:a16="http://schemas.microsoft.com/office/drawing/2014/main" id="{08CBC6D3-C8A2-6AB8-F8EA-6805DC097F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76530" y="2045529"/>
            <a:ext cx="1836539" cy="645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06364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 pitchFamily="2" charset="77"/>
              </a:rPr>
              <a:t>Porsche</a:t>
            </a:r>
            <a:b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 pitchFamily="2" charset="77"/>
              </a:rPr>
            </a:b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 pitchFamily="2" charset="77"/>
              </a:rPr>
              <a:t>Cayenne</a:t>
            </a:r>
          </a:p>
        </p:txBody>
      </p:sp>
      <p:sp>
        <p:nvSpPr>
          <p:cNvPr id="27" name="Oval 14">
            <a:extLst>
              <a:ext uri="{FF2B5EF4-FFF2-40B4-BE49-F238E27FC236}">
                <a16:creationId xmlns:a16="http://schemas.microsoft.com/office/drawing/2014/main" id="{E649D70F-18A4-17B5-CC4C-21F315C4F0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1067" y="2591996"/>
            <a:ext cx="137811" cy="1527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85725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4D00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30" name="AutoShape 15">
            <a:extLst>
              <a:ext uri="{FF2B5EF4-FFF2-40B4-BE49-F238E27FC236}">
                <a16:creationId xmlns:a16="http://schemas.microsoft.com/office/drawing/2014/main" id="{F3AA7059-50DA-6583-9DA3-A216C45C7372}"/>
              </a:ext>
            </a:extLst>
          </p:cNvPr>
          <p:cNvSpPr>
            <a:spLocks noChangeArrowheads="1"/>
          </p:cNvSpPr>
          <p:nvPr/>
        </p:nvSpPr>
        <p:spPr bwMode="auto">
          <a:xfrm rot="19616685">
            <a:off x="4581474" y="3378025"/>
            <a:ext cx="3135831" cy="413742"/>
          </a:xfrm>
          <a:prstGeom prst="rightArrow">
            <a:avLst>
              <a:gd name="adj1" fmla="val 50352"/>
              <a:gd name="adj2" fmla="val 122041"/>
            </a:avLst>
          </a:prstGeom>
          <a:gradFill rotWithShape="0">
            <a:gsLst>
              <a:gs pos="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1"/>
          </a:gra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85725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4D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31" name="Text Box 16">
            <a:extLst>
              <a:ext uri="{FF2B5EF4-FFF2-40B4-BE49-F238E27FC236}">
                <a16:creationId xmlns:a16="http://schemas.microsoft.com/office/drawing/2014/main" id="{9015844C-CBFB-33D2-032F-C9AD2BD8F1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8327" y="5417401"/>
            <a:ext cx="829021" cy="337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solidFill>
                  <a:srgbClr val="000000"/>
                </a:solidFill>
                <a:latin typeface="Montserrat" pitchFamily="2" charset="77"/>
              </a:rPr>
              <a:t>12,547</a:t>
            </a:r>
          </a:p>
        </p:txBody>
      </p:sp>
      <p:sp>
        <p:nvSpPr>
          <p:cNvPr id="32" name="Text Box 17">
            <a:extLst>
              <a:ext uri="{FF2B5EF4-FFF2-40B4-BE49-F238E27FC236}">
                <a16:creationId xmlns:a16="http://schemas.microsoft.com/office/drawing/2014/main" id="{8BB4DFD2-869C-709C-DBC8-2BF159F74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8749" y="1627999"/>
            <a:ext cx="665513" cy="306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Montserrat" pitchFamily="2" charset="77"/>
              </a:rPr>
              <a:t>Price</a:t>
            </a:r>
          </a:p>
        </p:txBody>
      </p:sp>
      <p:sp>
        <p:nvSpPr>
          <p:cNvPr id="33" name="Text Box 18">
            <a:extLst>
              <a:ext uri="{FF2B5EF4-FFF2-40B4-BE49-F238E27FC236}">
                <a16:creationId xmlns:a16="http://schemas.microsoft.com/office/drawing/2014/main" id="{36CB910B-9C78-6FB7-5382-16B3BBB3B7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0127" y="4582475"/>
            <a:ext cx="1117560" cy="337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solidFill>
                  <a:srgbClr val="000000"/>
                </a:solidFill>
                <a:latin typeface="Montserrat" pitchFamily="2" charset="77"/>
              </a:rPr>
              <a:t>$</a:t>
            </a:r>
            <a:r>
              <a:rPr lang="en-US" altLang="en-US" sz="1600" b="1" dirty="0">
                <a:solidFill>
                  <a:srgbClr val="000000"/>
                </a:solidFill>
                <a:latin typeface="Verdana" panose="020B0604030504040204" pitchFamily="34" charset="0"/>
              </a:rPr>
              <a:t>38,110</a:t>
            </a:r>
            <a:endParaRPr lang="en-US" altLang="en-US" sz="1600" b="1" dirty="0">
              <a:solidFill>
                <a:srgbClr val="000000"/>
              </a:solidFill>
              <a:latin typeface="Montserrat" pitchFamily="2" charset="77"/>
            </a:endParaRPr>
          </a:p>
        </p:txBody>
      </p:sp>
      <p:sp>
        <p:nvSpPr>
          <p:cNvPr id="34" name="Text Box 19">
            <a:extLst>
              <a:ext uri="{FF2B5EF4-FFF2-40B4-BE49-F238E27FC236}">
                <a16:creationId xmlns:a16="http://schemas.microsoft.com/office/drawing/2014/main" id="{6EB302B9-57AE-4A21-EFE5-C05C87241D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7097" y="2111928"/>
            <a:ext cx="1117560" cy="337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solidFill>
                  <a:srgbClr val="000000"/>
                </a:solidFill>
                <a:latin typeface="Montserrat" pitchFamily="2" charset="77"/>
              </a:rPr>
              <a:t>$</a:t>
            </a:r>
            <a:r>
              <a:rPr lang="en-US" altLang="en-US" sz="1600" b="1" dirty="0">
                <a:solidFill>
                  <a:srgbClr val="000000"/>
                </a:solidFill>
                <a:latin typeface="Verdana" panose="020B0604030504040204" pitchFamily="34" charset="0"/>
              </a:rPr>
              <a:t>42,200</a:t>
            </a:r>
            <a:endParaRPr lang="en-US" altLang="en-US" sz="1600" b="1" dirty="0">
              <a:solidFill>
                <a:srgbClr val="000000"/>
              </a:solidFill>
              <a:latin typeface="Montserrat" pitchFamily="2" charset="77"/>
            </a:endParaRPr>
          </a:p>
        </p:txBody>
      </p:sp>
      <p:sp>
        <p:nvSpPr>
          <p:cNvPr id="35" name="Text Box 20">
            <a:extLst>
              <a:ext uri="{FF2B5EF4-FFF2-40B4-BE49-F238E27FC236}">
                <a16:creationId xmlns:a16="http://schemas.microsoft.com/office/drawing/2014/main" id="{C05CC42C-38C1-9992-9AAC-7CE248939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84827" y="5208239"/>
            <a:ext cx="1063058" cy="5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Montserrat" pitchFamily="2" charset="77"/>
              </a:rPr>
              <a:t>Quantity </a:t>
            </a:r>
          </a:p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Montserrat" pitchFamily="2" charset="77"/>
              </a:rPr>
              <a:t>US Sales</a:t>
            </a:r>
          </a:p>
        </p:txBody>
      </p:sp>
      <p:sp>
        <p:nvSpPr>
          <p:cNvPr id="36" name="Text Box 21">
            <a:extLst>
              <a:ext uri="{FF2B5EF4-FFF2-40B4-BE49-F238E27FC236}">
                <a16:creationId xmlns:a16="http://schemas.microsoft.com/office/drawing/2014/main" id="{7BD914CD-6686-C67F-C1E3-09EE5D6145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8792" y="935430"/>
            <a:ext cx="5056621" cy="707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906364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2000" dirty="0">
                <a:latin typeface="Montserrat" pitchFamily="2" charset="77"/>
              </a:rPr>
              <a:t>Stronger brand equity drives higher prices and greater sha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15AD394-F967-83AD-81AF-94708657BA7D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Automotive News</a:t>
            </a:r>
          </a:p>
        </p:txBody>
      </p:sp>
      <p:pic>
        <p:nvPicPr>
          <p:cNvPr id="1031" name="Picture 7" descr="Volkswagen Touareg [2008-2012] Price - Images, Colors &amp; Reviews - CarWale">
            <a:extLst>
              <a:ext uri="{FF2B5EF4-FFF2-40B4-BE49-F238E27FC236}">
                <a16:creationId xmlns:a16="http://schemas.microsoft.com/office/drawing/2014/main" id="{5F53AC05-9EA8-E51A-543E-E24B9574E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178" y="4383774"/>
            <a:ext cx="1568920" cy="883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Box 7">
            <a:extLst>
              <a:ext uri="{FF2B5EF4-FFF2-40B4-BE49-F238E27FC236}">
                <a16:creationId xmlns:a16="http://schemas.microsoft.com/office/drawing/2014/main" id="{6D758D55-EFB2-4F50-F69F-75A463C08E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3971" y="4562736"/>
            <a:ext cx="1653018" cy="645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chemeClr val="tx2"/>
                </a:solidFill>
                <a:latin typeface="Montserrat" pitchFamily="2" charset="77"/>
              </a:rPr>
              <a:t>Volkswagen</a:t>
            </a:r>
            <a:br>
              <a:rPr lang="en-US" altLang="en-US" sz="1800" dirty="0">
                <a:solidFill>
                  <a:schemeClr val="tx2"/>
                </a:solidFill>
                <a:latin typeface="Montserrat" pitchFamily="2" charset="77"/>
              </a:rPr>
            </a:br>
            <a:r>
              <a:rPr lang="en-US" altLang="en-US" sz="1800" dirty="0">
                <a:solidFill>
                  <a:schemeClr val="tx2"/>
                </a:solidFill>
                <a:latin typeface="Montserrat" pitchFamily="2" charset="77"/>
              </a:rPr>
              <a:t>Touareg</a:t>
            </a:r>
          </a:p>
        </p:txBody>
      </p:sp>
      <p:pic>
        <p:nvPicPr>
          <p:cNvPr id="1033" name="Picture 9" descr="Used 2023 Porsche Cayenne Turbo GT in Paint to Sample Nogaro Blue For Sale  (Sold) | Marshall Goldman Motor Sales Stock #M25960">
            <a:extLst>
              <a:ext uri="{FF2B5EF4-FFF2-40B4-BE49-F238E27FC236}">
                <a16:creationId xmlns:a16="http://schemas.microsoft.com/office/drawing/2014/main" id="{C37B037D-05E4-F484-B916-CA449F122C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61" b="22994"/>
          <a:stretch>
            <a:fillRect/>
          </a:stretch>
        </p:blipFill>
        <p:spPr bwMode="auto">
          <a:xfrm>
            <a:off x="9217603" y="1928768"/>
            <a:ext cx="1990737" cy="73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831118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1525E-4A89-943D-A11A-6199508BF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C8C55-158E-399C-1F2E-B8F6A68F9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s create loyal customer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D4D2E0-4EB0-DC60-1DD6-D888CDDB1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58DAC43-1CF5-B041-9EC6-C41F5829B3D8}" type="slidenum">
              <a:rPr lang="en-US" smtClean="0"/>
              <a:t>9</a:t>
            </a:fld>
            <a:endParaRPr lang="en-US" dirty="0"/>
          </a:p>
        </p:txBody>
      </p:sp>
      <p:pic>
        <p:nvPicPr>
          <p:cNvPr id="4" name="Grafik 5">
            <a:extLst>
              <a:ext uri="{FF2B5EF4-FFF2-40B4-BE49-F238E27FC236}">
                <a16:creationId xmlns:a16="http://schemas.microsoft.com/office/drawing/2014/main" id="{D256C6D9-52FF-6D9D-B008-37D010042F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2144" r="14956" b="10857"/>
          <a:stretch>
            <a:fillRect/>
          </a:stretch>
        </p:blipFill>
        <p:spPr>
          <a:xfrm>
            <a:off x="563839" y="3026004"/>
            <a:ext cx="4714495" cy="26811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F3CBD12-780D-2067-92F2-836D4A0EEE3B}"/>
              </a:ext>
            </a:extLst>
          </p:cNvPr>
          <p:cNvSpPr txBox="1"/>
          <p:nvPr/>
        </p:nvSpPr>
        <p:spPr>
          <a:xfrm>
            <a:off x="5005633" y="6420932"/>
            <a:ext cx="24603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Montserrat" pitchFamily="2" charset="77"/>
              </a:rPr>
              <a:t>Source: Annual report</a:t>
            </a:r>
          </a:p>
        </p:txBody>
      </p:sp>
      <p:sp>
        <p:nvSpPr>
          <p:cNvPr id="7" name="Text Box 20">
            <a:extLst>
              <a:ext uri="{FF2B5EF4-FFF2-40B4-BE49-F238E27FC236}">
                <a16:creationId xmlns:a16="http://schemas.microsoft.com/office/drawing/2014/main" id="{1F6BE1B7-26ED-53BB-BB52-FA33EFA5A4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9978" y="2790788"/>
            <a:ext cx="1013365" cy="276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rgbClr val="000000"/>
                </a:solidFill>
                <a:latin typeface="Montserrat" pitchFamily="2" charset="77"/>
              </a:rPr>
              <a:t>Sales ($m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DFA63E-1D92-65A2-3425-69BD18A4A355}"/>
              </a:ext>
            </a:extLst>
          </p:cNvPr>
          <p:cNvSpPr txBox="1"/>
          <p:nvPr/>
        </p:nvSpPr>
        <p:spPr>
          <a:xfrm>
            <a:off x="705244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C29084-01E8-67D2-11EA-9391EDD5FC1F}"/>
              </a:ext>
            </a:extLst>
          </p:cNvPr>
          <p:cNvSpPr txBox="1"/>
          <p:nvPr/>
        </p:nvSpPr>
        <p:spPr>
          <a:xfrm>
            <a:off x="1379307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3F4F11-DA82-AD99-B526-2133FFFD4AE5}"/>
              </a:ext>
            </a:extLst>
          </p:cNvPr>
          <p:cNvSpPr txBox="1"/>
          <p:nvPr/>
        </p:nvSpPr>
        <p:spPr>
          <a:xfrm>
            <a:off x="2053370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723A80-A9FF-0BFE-7F0D-54C8025E287C}"/>
              </a:ext>
            </a:extLst>
          </p:cNvPr>
          <p:cNvSpPr txBox="1"/>
          <p:nvPr/>
        </p:nvSpPr>
        <p:spPr>
          <a:xfrm>
            <a:off x="2727433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76F924-F796-7A3D-C907-79EBAB991611}"/>
              </a:ext>
            </a:extLst>
          </p:cNvPr>
          <p:cNvSpPr txBox="1"/>
          <p:nvPr/>
        </p:nvSpPr>
        <p:spPr>
          <a:xfrm>
            <a:off x="3401496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5E19350-90BC-B930-0688-89F90B410240}"/>
              </a:ext>
            </a:extLst>
          </p:cNvPr>
          <p:cNvSpPr txBox="1"/>
          <p:nvPr/>
        </p:nvSpPr>
        <p:spPr>
          <a:xfrm>
            <a:off x="4075559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4F108F-D8F7-0E8C-3B6A-485613D1C3AA}"/>
              </a:ext>
            </a:extLst>
          </p:cNvPr>
          <p:cNvSpPr txBox="1"/>
          <p:nvPr/>
        </p:nvSpPr>
        <p:spPr>
          <a:xfrm>
            <a:off x="4749621" y="5707117"/>
            <a:ext cx="608099" cy="1185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>
                <a:latin typeface="Montserrat" pitchFamily="2" charset="77"/>
              </a:rPr>
              <a:t>Year 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141C6B-C9D7-C72B-5C34-1DD2420BBF0D}"/>
              </a:ext>
            </a:extLst>
          </p:cNvPr>
          <p:cNvSpPr txBox="1"/>
          <p:nvPr/>
        </p:nvSpPr>
        <p:spPr>
          <a:xfrm>
            <a:off x="5278334" y="3567511"/>
            <a:ext cx="957497" cy="3017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900" dirty="0">
                <a:latin typeface="Montserrat" pitchFamily="2" charset="77"/>
              </a:rPr>
              <a:t>New customer sales (1</a:t>
            </a:r>
            <a:r>
              <a:rPr lang="en-US" sz="900" baseline="30000" dirty="0">
                <a:latin typeface="Montserrat" pitchFamily="2" charset="77"/>
              </a:rPr>
              <a:t>st</a:t>
            </a:r>
            <a:r>
              <a:rPr lang="en-US" sz="900" dirty="0">
                <a:latin typeface="Montserrat" pitchFamily="2" charset="77"/>
              </a:rPr>
              <a:t> year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EC71EC-89E0-CEC8-D7DC-7A5032D38A2A}"/>
              </a:ext>
            </a:extLst>
          </p:cNvPr>
          <p:cNvSpPr txBox="1"/>
          <p:nvPr/>
        </p:nvSpPr>
        <p:spPr>
          <a:xfrm>
            <a:off x="5278334" y="4391822"/>
            <a:ext cx="957497" cy="3017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900" dirty="0">
                <a:latin typeface="Montserrat" pitchFamily="2" charset="77"/>
              </a:rPr>
              <a:t>Repeat customer sa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99C697-9624-268C-062C-59C7EE6C90BE}"/>
              </a:ext>
            </a:extLst>
          </p:cNvPr>
          <p:cNvSpPr txBox="1"/>
          <p:nvPr/>
        </p:nvSpPr>
        <p:spPr>
          <a:xfrm>
            <a:off x="5278334" y="5319735"/>
            <a:ext cx="957497" cy="3017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900" dirty="0">
                <a:latin typeface="Montserrat" pitchFamily="2" charset="77"/>
              </a:rPr>
              <a:t>Sales growth vs. previous year</a:t>
            </a:r>
          </a:p>
        </p:txBody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id="{A3E609E0-8810-B938-A84F-1653F4F15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5855" y="2551055"/>
            <a:ext cx="1011230" cy="83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689A2F2F-CD6C-57A0-3AF4-B5498CB287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28102" y="2535397"/>
            <a:ext cx="842054" cy="8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9245226-F6C7-8C42-70D5-6DEFBF23385F}"/>
              </a:ext>
            </a:extLst>
          </p:cNvPr>
          <p:cNvSpPr/>
          <p:nvPr/>
        </p:nvSpPr>
        <p:spPr>
          <a:xfrm>
            <a:off x="7375965" y="5333211"/>
            <a:ext cx="4577022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500" dirty="0">
                <a:solidFill>
                  <a:srgbClr val="000000"/>
                </a:solidFill>
                <a:latin typeface="Montserrat" pitchFamily="2" charset="77"/>
                <a:ea typeface="MS PGothic" pitchFamily="34" charset="-128"/>
              </a:rPr>
              <a:t>Has leveraged its almost religious brand equity among loyalists to survive an onslaught by functionally superior brands such as BMW</a:t>
            </a:r>
            <a:endParaRPr lang="en-US" sz="1500" dirty="0">
              <a:solidFill>
                <a:srgbClr val="000000"/>
              </a:solidFill>
              <a:latin typeface="Montserrat" pitchFamily="2" charset="77"/>
              <a:ea typeface="MS PGothic" pitchFamily="34" charset="-128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979C5A1B-831E-96EE-D38B-CEDD86602C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5965086"/>
              </p:ext>
            </p:extLst>
          </p:nvPr>
        </p:nvGraphicFramePr>
        <p:xfrm>
          <a:off x="8386325" y="3574258"/>
          <a:ext cx="2910839" cy="1714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5205A89-B83C-1D95-4650-2AB86541A814}"/>
              </a:ext>
            </a:extLst>
          </p:cNvPr>
          <p:cNvSpPr txBox="1"/>
          <p:nvPr/>
        </p:nvSpPr>
        <p:spPr>
          <a:xfrm>
            <a:off x="8738557" y="3462694"/>
            <a:ext cx="22117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000000"/>
                </a:solidFill>
                <a:latin typeface="Montserrat" pitchFamily="2" charset="77"/>
                <a:ea typeface="MS PGothic" pitchFamily="34" charset="-128"/>
              </a:rPr>
              <a:t>Motorcycle market share</a:t>
            </a:r>
          </a:p>
        </p:txBody>
      </p:sp>
      <p:sp>
        <p:nvSpPr>
          <p:cNvPr id="28" name="Text Box 20">
            <a:extLst>
              <a:ext uri="{FF2B5EF4-FFF2-40B4-BE49-F238E27FC236}">
                <a16:creationId xmlns:a16="http://schemas.microsoft.com/office/drawing/2014/main" id="{54FAF1F0-60DD-47B2-A1DD-169732D350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2624" y="2086093"/>
            <a:ext cx="2910839" cy="306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Montserrat" pitchFamily="2" charset="77"/>
              </a:rPr>
              <a:t>The Harley-Davidson brand </a:t>
            </a:r>
          </a:p>
        </p:txBody>
      </p:sp>
      <p:sp>
        <p:nvSpPr>
          <p:cNvPr id="29" name="Text Box 20">
            <a:extLst>
              <a:ext uri="{FF2B5EF4-FFF2-40B4-BE49-F238E27FC236}">
                <a16:creationId xmlns:a16="http://schemas.microsoft.com/office/drawing/2014/main" id="{F6C1AF30-82E2-216A-6D72-B74DC4BF40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0211" y="2207844"/>
            <a:ext cx="3434591" cy="5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620" tIns="45310" rIns="90620" bIns="45310" anchor="ctr">
            <a:spAutoFit/>
          </a:bodyPr>
          <a:lstStyle>
            <a:lvl1pPr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82600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667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49388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933575" algn="l" defTabSz="9667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3907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8479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051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762375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90636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Montserrat" pitchFamily="2" charset="77"/>
              </a:rPr>
              <a:t>Repeat customers drive more sales than new custom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68DC71-2531-7B56-E46B-08920EDC7FC0}"/>
              </a:ext>
            </a:extLst>
          </p:cNvPr>
          <p:cNvSpPr txBox="1"/>
          <p:nvPr/>
        </p:nvSpPr>
        <p:spPr>
          <a:xfrm>
            <a:off x="512226" y="801440"/>
            <a:ext cx="815970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>
                <a:latin typeface="Montserrat" pitchFamily="2" charset="77"/>
              </a:rPr>
              <a:t>Retains customers and attracts new ones + Edge over competitor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BF09DB1-C10D-0C60-BE33-142034744C21}"/>
              </a:ext>
            </a:extLst>
          </p:cNvPr>
          <p:cNvSpPr/>
          <p:nvPr/>
        </p:nvSpPr>
        <p:spPr>
          <a:xfrm>
            <a:off x="563839" y="1286091"/>
            <a:ext cx="55579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500" dirty="0">
                <a:solidFill>
                  <a:srgbClr val="000000"/>
                </a:solidFill>
                <a:latin typeface="Montserrat" pitchFamily="2" charset="77"/>
                <a:ea typeface="MS PGothic" pitchFamily="34" charset="-128"/>
              </a:rPr>
              <a:t>A strong brand drives customer retention, loyalty and advocacy, and attracts new ones </a:t>
            </a:r>
            <a:endParaRPr lang="en-US" sz="1500" dirty="0">
              <a:solidFill>
                <a:srgbClr val="000000"/>
              </a:solidFill>
              <a:latin typeface="Montserrat" pitchFamily="2" charset="77"/>
              <a:ea typeface="MS PGothic" pitchFamily="34" charset="-128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35DF73F-4D8D-1BE0-4E4E-8F9050A8A506}"/>
              </a:ext>
            </a:extLst>
          </p:cNvPr>
          <p:cNvSpPr/>
          <p:nvPr/>
        </p:nvSpPr>
        <p:spPr>
          <a:xfrm>
            <a:off x="7060675" y="1280012"/>
            <a:ext cx="4927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500" dirty="0">
                <a:solidFill>
                  <a:srgbClr val="000000"/>
                </a:solidFill>
                <a:latin typeface="Montserrat" pitchFamily="2" charset="77"/>
                <a:ea typeface="MS PGothic" pitchFamily="34" charset="-128"/>
              </a:rPr>
              <a:t>A strong brand creates an edge over competitors, defends and drives market share</a:t>
            </a:r>
            <a:endParaRPr lang="en-US" sz="1500" dirty="0">
              <a:solidFill>
                <a:srgbClr val="000000"/>
              </a:solidFill>
              <a:latin typeface="Montserrat" pitchFamily="2" charset="77"/>
              <a:ea typeface="MS PGothic" pitchFamily="34" charset="-128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D84FFD7-6F77-FEF0-9C9A-561DE0720249}"/>
              </a:ext>
            </a:extLst>
          </p:cNvPr>
          <p:cNvSpPr/>
          <p:nvPr/>
        </p:nvSpPr>
        <p:spPr>
          <a:xfrm>
            <a:off x="563839" y="6002885"/>
            <a:ext cx="605825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500" dirty="0">
                <a:solidFill>
                  <a:srgbClr val="000000"/>
                </a:solidFill>
                <a:latin typeface="Montserrat" pitchFamily="2" charset="77"/>
                <a:ea typeface="MS PGothic" pitchFamily="34" charset="-128"/>
              </a:rPr>
              <a:t>On average, 20% most Loyal Customers = 80% of Sales</a:t>
            </a:r>
            <a:endParaRPr lang="en-US" sz="1500" dirty="0">
              <a:solidFill>
                <a:srgbClr val="000000"/>
              </a:solidFill>
              <a:latin typeface="Montserrat" pitchFamily="2" charset="77"/>
              <a:ea typeface="MS PGothic" pitchFamily="34" charset="-128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01ED319-AFF0-C42A-36A1-38AAE8FF968E}"/>
              </a:ext>
            </a:extLst>
          </p:cNvPr>
          <p:cNvSpPr txBox="1"/>
          <p:nvPr/>
        </p:nvSpPr>
        <p:spPr>
          <a:xfrm>
            <a:off x="10664715" y="4043442"/>
            <a:ext cx="957497" cy="3017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900" dirty="0">
                <a:latin typeface="Montserrat" pitchFamily="2" charset="77"/>
              </a:rPr>
              <a:t>Harley-Davids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99DA530-5231-D45B-5405-2C9763E70450}"/>
              </a:ext>
            </a:extLst>
          </p:cNvPr>
          <p:cNvSpPr txBox="1"/>
          <p:nvPr/>
        </p:nvSpPr>
        <p:spPr>
          <a:xfrm>
            <a:off x="8061277" y="4990254"/>
            <a:ext cx="957497" cy="1373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 dirty="0">
                <a:latin typeface="Montserrat" pitchFamily="2" charset="77"/>
              </a:rPr>
              <a:t>Dore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64C8F9D-2852-4FAB-78A4-65DBED2117B9}"/>
              </a:ext>
            </a:extLst>
          </p:cNvPr>
          <p:cNvSpPr txBox="1"/>
          <p:nvPr/>
        </p:nvSpPr>
        <p:spPr>
          <a:xfrm>
            <a:off x="7844400" y="4832183"/>
            <a:ext cx="957497" cy="1373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 dirty="0">
                <a:latin typeface="Montserrat" pitchFamily="2" charset="77"/>
              </a:rPr>
              <a:t>Polari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07B5AA9-A832-63D2-7B39-4C6F129C2D9D}"/>
              </a:ext>
            </a:extLst>
          </p:cNvPr>
          <p:cNvSpPr txBox="1"/>
          <p:nvPr/>
        </p:nvSpPr>
        <p:spPr>
          <a:xfrm>
            <a:off x="7751495" y="4674113"/>
            <a:ext cx="957497" cy="1373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 dirty="0">
                <a:latin typeface="Montserrat" pitchFamily="2" charset="77"/>
              </a:rPr>
              <a:t>Yamah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E94AB81-D4CA-3074-2DD7-4E3A8965B526}"/>
              </a:ext>
            </a:extLst>
          </p:cNvPr>
          <p:cNvSpPr txBox="1"/>
          <p:nvPr/>
        </p:nvSpPr>
        <p:spPr>
          <a:xfrm>
            <a:off x="7751495" y="4516043"/>
            <a:ext cx="957497" cy="1373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 dirty="0">
                <a:latin typeface="Montserrat" pitchFamily="2" charset="77"/>
              </a:rPr>
              <a:t>Huff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5F72AC-58EB-01D0-E19E-4E211174C99E}"/>
              </a:ext>
            </a:extLst>
          </p:cNvPr>
          <p:cNvSpPr txBox="1"/>
          <p:nvPr/>
        </p:nvSpPr>
        <p:spPr>
          <a:xfrm>
            <a:off x="8089275" y="4024049"/>
            <a:ext cx="957497" cy="1373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 dirty="0">
                <a:latin typeface="Montserrat" pitchFamily="2" charset="77"/>
              </a:rPr>
              <a:t>All others</a:t>
            </a:r>
          </a:p>
        </p:txBody>
      </p:sp>
    </p:spTree>
    <p:extLst>
      <p:ext uri="{BB962C8B-B14F-4D97-AF65-F5344CB8AC3E}">
        <p14:creationId xmlns:p14="http://schemas.microsoft.com/office/powerpoint/2010/main" val="444229285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Autofit/>
      </a:bodyPr>
      <a:lstStyle>
        <a:defPPr algn="l">
          <a:defRPr sz="1400" dirty="0" err="1" smtClean="0">
            <a:latin typeface="Montserra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RADS">
  <a:themeElements>
    <a:clrScheme name="PRESCIANT_COLOUR_THEME_1">
      <a:dk1>
        <a:srgbClr val="151615"/>
      </a:dk1>
      <a:lt1>
        <a:srgbClr val="FEFFFE"/>
      </a:lt1>
      <a:dk2>
        <a:srgbClr val="007EAF"/>
      </a:dk2>
      <a:lt2>
        <a:srgbClr val="E3F0F2"/>
      </a:lt2>
      <a:accent1>
        <a:srgbClr val="20B8AB"/>
      </a:accent1>
      <a:accent2>
        <a:srgbClr val="237D9E"/>
      </a:accent2>
      <a:accent3>
        <a:srgbClr val="008FBE"/>
      </a:accent3>
      <a:accent4>
        <a:srgbClr val="002643"/>
      </a:accent4>
      <a:accent5>
        <a:srgbClr val="00629E"/>
      </a:accent5>
      <a:accent6>
        <a:srgbClr val="005596"/>
      </a:accent6>
      <a:hlink>
        <a:srgbClr val="353E88"/>
      </a:hlink>
      <a:folHlink>
        <a:srgbClr val="2F328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Autofit/>
      </a:bodyPr>
      <a:lstStyle>
        <a:defPPr marL="177800" indent="-177800" algn="l">
          <a:buFont typeface="Arial" panose="020B0604020202020204" pitchFamily="34" charset="0"/>
          <a:buChar char="•"/>
          <a:defRPr sz="1100" dirty="0" err="1" smtClean="0">
            <a:latin typeface="Montserra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EEDBACK_FINALDESIGNS" id="{E75428BF-2879-E34E-A194-F24258E0F287}" vid="{1FDC6BEC-C986-7B4B-BE07-68AD47E6F78A}"/>
    </a:ext>
  </a:extLst>
</a:theme>
</file>

<file path=ppt/theme/theme3.xml><?xml version="1.0" encoding="utf-8"?>
<a:theme xmlns:a="http://schemas.openxmlformats.org/drawingml/2006/main" name="1_MASB template">
  <a:themeElements>
    <a:clrScheme name="Custom 3">
      <a:dk1>
        <a:srgbClr val="000000"/>
      </a:dk1>
      <a:lt1>
        <a:srgbClr val="FFFFE1"/>
      </a:lt1>
      <a:dk2>
        <a:srgbClr val="330033"/>
      </a:dk2>
      <a:lt2>
        <a:srgbClr val="FFFFFF"/>
      </a:lt2>
      <a:accent1>
        <a:srgbClr val="CCCC99"/>
      </a:accent1>
      <a:accent2>
        <a:srgbClr val="005390"/>
      </a:accent2>
      <a:accent3>
        <a:srgbClr val="000066"/>
      </a:accent3>
      <a:accent4>
        <a:srgbClr val="0000CC"/>
      </a:accent4>
      <a:accent5>
        <a:srgbClr val="008000"/>
      </a:accent5>
      <a:accent6>
        <a:srgbClr val="E70000"/>
      </a:accent6>
      <a:hlink>
        <a:srgbClr val="0070C0"/>
      </a:hlink>
      <a:folHlink>
        <a:srgbClr val="B2B2B2"/>
      </a:folHlink>
    </a:clrScheme>
    <a:fontScheme name="1_Layer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Layers 1">
        <a:dk1>
          <a:srgbClr val="993300"/>
        </a:dk1>
        <a:lt1>
          <a:srgbClr val="CCCCCC"/>
        </a:lt1>
        <a:dk2>
          <a:srgbClr val="000000"/>
        </a:dk2>
        <a:lt2>
          <a:srgbClr val="FFFFFF"/>
        </a:lt2>
        <a:accent1>
          <a:srgbClr val="576F2B"/>
        </a:accent1>
        <a:accent2>
          <a:srgbClr val="666699"/>
        </a:accent2>
        <a:accent3>
          <a:srgbClr val="AAAAAA"/>
        </a:accent3>
        <a:accent4>
          <a:srgbClr val="AEAEAE"/>
        </a:accent4>
        <a:accent5>
          <a:srgbClr val="B4BBAC"/>
        </a:accent5>
        <a:accent6>
          <a:srgbClr val="5C5C8A"/>
        </a:accent6>
        <a:hlink>
          <a:srgbClr val="9933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ayers 2">
        <a:dk1>
          <a:srgbClr val="993300"/>
        </a:dk1>
        <a:lt1>
          <a:srgbClr val="CCCCCC"/>
        </a:lt1>
        <a:dk2>
          <a:srgbClr val="330000"/>
        </a:dk2>
        <a:lt2>
          <a:srgbClr val="FFFFFF"/>
        </a:lt2>
        <a:accent1>
          <a:srgbClr val="996633"/>
        </a:accent1>
        <a:accent2>
          <a:srgbClr val="FF0000"/>
        </a:accent2>
        <a:accent3>
          <a:srgbClr val="ADAAAA"/>
        </a:accent3>
        <a:accent4>
          <a:srgbClr val="AEAEAE"/>
        </a:accent4>
        <a:accent5>
          <a:srgbClr val="CAB8AD"/>
        </a:accent5>
        <a:accent6>
          <a:srgbClr val="E70000"/>
        </a:accent6>
        <a:hlink>
          <a:srgbClr val="FF3300"/>
        </a:hlink>
        <a:folHlink>
          <a:srgbClr val="CC99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ayers 3">
        <a:dk1>
          <a:srgbClr val="79788A"/>
        </a:dk1>
        <a:lt1>
          <a:srgbClr val="FFFFFF"/>
        </a:lt1>
        <a:dk2>
          <a:srgbClr val="21203C"/>
        </a:dk2>
        <a:lt2>
          <a:srgbClr val="FFFFCC"/>
        </a:lt2>
        <a:accent1>
          <a:srgbClr val="476077"/>
        </a:accent1>
        <a:accent2>
          <a:srgbClr val="676C5A"/>
        </a:accent2>
        <a:accent3>
          <a:srgbClr val="ABABAF"/>
        </a:accent3>
        <a:accent4>
          <a:srgbClr val="DADADA"/>
        </a:accent4>
        <a:accent5>
          <a:srgbClr val="B1B6BD"/>
        </a:accent5>
        <a:accent6>
          <a:srgbClr val="5D6151"/>
        </a:accent6>
        <a:hlink>
          <a:srgbClr val="666699"/>
        </a:hlink>
        <a:folHlink>
          <a:srgbClr val="8CB0A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ayers 4">
        <a:dk1>
          <a:srgbClr val="455B41"/>
        </a:dk1>
        <a:lt1>
          <a:srgbClr val="FFFFCC"/>
        </a:lt1>
        <a:dk2>
          <a:srgbClr val="79A994"/>
        </a:dk2>
        <a:lt2>
          <a:srgbClr val="FFFFCC"/>
        </a:lt2>
        <a:accent1>
          <a:srgbClr val="517087"/>
        </a:accent1>
        <a:accent2>
          <a:srgbClr val="666699"/>
        </a:accent2>
        <a:accent3>
          <a:srgbClr val="BED1C8"/>
        </a:accent3>
        <a:accent4>
          <a:srgbClr val="DADAAE"/>
        </a:accent4>
        <a:accent5>
          <a:srgbClr val="B3BBC3"/>
        </a:accent5>
        <a:accent6>
          <a:srgbClr val="5C5C8A"/>
        </a:accent6>
        <a:hlink>
          <a:srgbClr val="993300"/>
        </a:hlink>
        <a:folHlink>
          <a:srgbClr val="A4AF6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ayers 5">
        <a:dk1>
          <a:srgbClr val="330000"/>
        </a:dk1>
        <a:lt1>
          <a:srgbClr val="FF9900"/>
        </a:lt1>
        <a:dk2>
          <a:srgbClr val="FFFFFF"/>
        </a:dk2>
        <a:lt2>
          <a:srgbClr val="8B3111"/>
        </a:lt2>
        <a:accent1>
          <a:srgbClr val="DD6D07"/>
        </a:accent1>
        <a:accent2>
          <a:srgbClr val="CC9900"/>
        </a:accent2>
        <a:accent3>
          <a:srgbClr val="FFCAAA"/>
        </a:accent3>
        <a:accent4>
          <a:srgbClr val="2A0000"/>
        </a:accent4>
        <a:accent5>
          <a:srgbClr val="EBBAAA"/>
        </a:accent5>
        <a:accent6>
          <a:srgbClr val="B98A00"/>
        </a:accent6>
        <a:hlink>
          <a:srgbClr val="CC330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ayers 6">
        <a:dk1>
          <a:srgbClr val="000000"/>
        </a:dk1>
        <a:lt1>
          <a:srgbClr val="FFFFE1"/>
        </a:lt1>
        <a:dk2>
          <a:srgbClr val="330033"/>
        </a:dk2>
        <a:lt2>
          <a:srgbClr val="330033"/>
        </a:lt2>
        <a:accent1>
          <a:srgbClr val="CCCC99"/>
        </a:accent1>
        <a:accent2>
          <a:srgbClr val="FF0000"/>
        </a:accent2>
        <a:accent3>
          <a:srgbClr val="FFFFEE"/>
        </a:accent3>
        <a:accent4>
          <a:srgbClr val="000000"/>
        </a:accent4>
        <a:accent5>
          <a:srgbClr val="E2E2CA"/>
        </a:accent5>
        <a:accent6>
          <a:srgbClr val="E70000"/>
        </a:accent6>
        <a:hlink>
          <a:srgbClr val="9900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ayers 7">
        <a:dk1>
          <a:srgbClr val="000000"/>
        </a:dk1>
        <a:lt1>
          <a:srgbClr val="FFFFFF"/>
        </a:lt1>
        <a:dk2>
          <a:srgbClr val="000000"/>
        </a:dk2>
        <a:lt2>
          <a:srgbClr val="891411"/>
        </a:lt2>
        <a:accent1>
          <a:srgbClr val="4F917E"/>
        </a:accent1>
        <a:accent2>
          <a:srgbClr val="CC9900"/>
        </a:accent2>
        <a:accent3>
          <a:srgbClr val="FFFFFF"/>
        </a:accent3>
        <a:accent4>
          <a:srgbClr val="000000"/>
        </a:accent4>
        <a:accent5>
          <a:srgbClr val="B2C7C0"/>
        </a:accent5>
        <a:accent6>
          <a:srgbClr val="B98A00"/>
        </a:accent6>
        <a:hlink>
          <a:srgbClr val="5A84D8"/>
        </a:hlink>
        <a:folHlink>
          <a:srgbClr val="A0C6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ayers 8">
        <a:dk1>
          <a:srgbClr val="000000"/>
        </a:dk1>
        <a:lt1>
          <a:srgbClr val="FFFFFF"/>
        </a:lt1>
        <a:dk2>
          <a:srgbClr val="CC0000"/>
        </a:dk2>
        <a:lt2>
          <a:srgbClr val="999966"/>
        </a:lt2>
        <a:accent1>
          <a:srgbClr val="CCCCCC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B9B95C"/>
        </a:accent6>
        <a:hlink>
          <a:srgbClr val="666699"/>
        </a:hlink>
        <a:folHlink>
          <a:srgbClr val="CCCC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ayers 9">
        <a:dk1>
          <a:srgbClr val="000000"/>
        </a:dk1>
        <a:lt1>
          <a:srgbClr val="FFFFFF"/>
        </a:lt1>
        <a:dk2>
          <a:srgbClr val="FF0000"/>
        </a:dk2>
        <a:lt2>
          <a:srgbClr val="009999"/>
        </a:lt2>
        <a:accent1>
          <a:srgbClr val="C7B505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0D7AA"/>
        </a:accent5>
        <a:accent6>
          <a:srgbClr val="E7E75C"/>
        </a:accent6>
        <a:hlink>
          <a:srgbClr val="5A84D8"/>
        </a:hlink>
        <a:folHlink>
          <a:srgbClr val="A0C6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ayers 10">
        <a:dk1>
          <a:srgbClr val="000000"/>
        </a:dk1>
        <a:lt1>
          <a:srgbClr val="FFFFFF"/>
        </a:lt1>
        <a:dk2>
          <a:srgbClr val="660033"/>
        </a:dk2>
        <a:lt2>
          <a:srgbClr val="666699"/>
        </a:lt2>
        <a:accent1>
          <a:srgbClr val="95A3D1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C8CEE5"/>
        </a:accent5>
        <a:accent6>
          <a:srgbClr val="E7E75C"/>
        </a:accent6>
        <a:hlink>
          <a:srgbClr val="5A84D8"/>
        </a:hlink>
        <a:folHlink>
          <a:srgbClr val="CCCC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.potx" id="{94F64FA6-D845-4A53-8DC8-BAD38E3B909D}" vid="{0D7E2A5D-B599-4075-862E-1E389FDC994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4">
    <a:dk1>
      <a:srgbClr val="000000"/>
    </a:dk1>
    <a:lt1>
      <a:srgbClr val="FFFFFF"/>
    </a:lt1>
    <a:dk2>
      <a:srgbClr val="000000"/>
    </a:dk2>
    <a:lt2>
      <a:srgbClr val="3E3E3E"/>
    </a:lt2>
    <a:accent1>
      <a:srgbClr val="FF352F"/>
    </a:accent1>
    <a:accent2>
      <a:srgbClr val="808080"/>
    </a:accent2>
    <a:accent3>
      <a:srgbClr val="FFFFFF"/>
    </a:accent3>
    <a:accent4>
      <a:srgbClr val="000000"/>
    </a:accent4>
    <a:accent5>
      <a:srgbClr val="F8AAAB"/>
    </a:accent5>
    <a:accent6>
      <a:srgbClr val="737373"/>
    </a:accent6>
    <a:hlink>
      <a:srgbClr val="C0C0C0"/>
    </a:hlink>
    <a:folHlink>
      <a:srgbClr val="E1E1E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RESCIANT_COLOUR_THEME_1">
    <a:dk1>
      <a:srgbClr val="151615"/>
    </a:dk1>
    <a:lt1>
      <a:srgbClr val="FEFFFE"/>
    </a:lt1>
    <a:dk2>
      <a:srgbClr val="007EAF"/>
    </a:dk2>
    <a:lt2>
      <a:srgbClr val="E3F0F2"/>
    </a:lt2>
    <a:accent1>
      <a:srgbClr val="20B8AB"/>
    </a:accent1>
    <a:accent2>
      <a:srgbClr val="237D9E"/>
    </a:accent2>
    <a:accent3>
      <a:srgbClr val="008FBE"/>
    </a:accent3>
    <a:accent4>
      <a:srgbClr val="002643"/>
    </a:accent4>
    <a:accent5>
      <a:srgbClr val="00629E"/>
    </a:accent5>
    <a:accent6>
      <a:srgbClr val="005596"/>
    </a:accent6>
    <a:hlink>
      <a:srgbClr val="353E88"/>
    </a:hlink>
    <a:folHlink>
      <a:srgbClr val="2F3286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635</TotalTime>
  <Words>1985</Words>
  <Application>Microsoft Macintosh PowerPoint</Application>
  <PresentationFormat>Widescreen</PresentationFormat>
  <Paragraphs>252</Paragraphs>
  <Slides>2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7" baseType="lpstr">
      <vt:lpstr>Abadi</vt:lpstr>
      <vt:lpstr>Aptos</vt:lpstr>
      <vt:lpstr>Arial</vt:lpstr>
      <vt:lpstr>Arial Rounded MT Bold</vt:lpstr>
      <vt:lpstr>Brown</vt:lpstr>
      <vt:lpstr>BrownMedium</vt:lpstr>
      <vt:lpstr>Calibri</vt:lpstr>
      <vt:lpstr>Futura Medium</vt:lpstr>
      <vt:lpstr>Montserrat</vt:lpstr>
      <vt:lpstr>Montserrat SemiBold</vt:lpstr>
      <vt:lpstr>Ogilvy Serif</vt:lpstr>
      <vt:lpstr>Times New Roman</vt:lpstr>
      <vt:lpstr>Verdana</vt:lpstr>
      <vt:lpstr>Wingdings</vt:lpstr>
      <vt:lpstr>Office Theme</vt:lpstr>
      <vt:lpstr>GRADS</vt:lpstr>
      <vt:lpstr>1_MASB template</vt:lpstr>
      <vt:lpstr>Kantar template master</vt:lpstr>
      <vt:lpstr>think-cell Slide</vt:lpstr>
      <vt:lpstr>Why brands are more important than ever: Brand driven growth in the age of AI and disruption</vt:lpstr>
      <vt:lpstr>Working with many famous brands</vt:lpstr>
      <vt:lpstr>PowerPoint Presentation</vt:lpstr>
      <vt:lpstr>PowerPoint Presentation</vt:lpstr>
      <vt:lpstr>PowerPoint Presentation</vt:lpstr>
      <vt:lpstr>Brands shape customer behavior</vt:lpstr>
      <vt:lpstr>Brand drives a price or volume premium and sometimes both</vt:lpstr>
      <vt:lpstr>Brands shift the demand curve</vt:lpstr>
      <vt:lpstr>Brands create loyal customers</vt:lpstr>
      <vt:lpstr>A strong brand is a major component of shareholder value</vt:lpstr>
      <vt:lpstr>PowerPoint Presentation</vt:lpstr>
      <vt:lpstr>Digital has been undermining the role of brand for a long time</vt:lpstr>
      <vt:lpstr>AI is said to be finishing brands off</vt:lpstr>
      <vt:lpstr>Everything looks alike</vt:lpstr>
      <vt:lpstr>Shopping is increasingly informed by AI</vt:lpstr>
      <vt:lpstr>Consumers are going to be completely disintermediated from brands</vt:lpstr>
      <vt:lpstr>PowerPoint Presentation</vt:lpstr>
      <vt:lpstr>With AI,  almost anyone can create a brand  It’s become much more difficult to stand out</vt:lpstr>
      <vt:lpstr>Big Tech brands are so strong, they are killing off potential competition</vt:lpstr>
      <vt:lpstr>Why? Brand is much more than communications</vt:lpstr>
      <vt:lpstr>In a world of identical choices, people will rely on brands more than ever</vt:lpstr>
      <vt:lpstr>PowerPoint Presentation</vt:lpstr>
      <vt:lpstr>Use AI to improve your brand differentiation</vt:lpstr>
      <vt:lpstr>Learn from companies already applying AI for competitive advantage</vt:lpstr>
      <vt:lpstr>PowerPoint Presentation</vt:lpstr>
      <vt:lpstr>Grow your revenues</vt:lpstr>
      <vt:lpstr>The result will be an increase in your shareholder valu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na Seddon</dc:creator>
  <cp:lastModifiedBy>Joanna Seddon</cp:lastModifiedBy>
  <cp:revision>439</cp:revision>
  <cp:lastPrinted>2020-09-21T16:38:31Z</cp:lastPrinted>
  <dcterms:created xsi:type="dcterms:W3CDTF">2020-09-21T15:55:23Z</dcterms:created>
  <dcterms:modified xsi:type="dcterms:W3CDTF">2026-02-14T23:59:18Z</dcterms:modified>
</cp:coreProperties>
</file>